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37"/>
  </p:notesMasterIdLst>
  <p:handoutMasterIdLst>
    <p:handoutMasterId r:id="rId38"/>
  </p:handoutMasterIdLst>
  <p:sldIdLst>
    <p:sldId id="256" r:id="rId5"/>
    <p:sldId id="328" r:id="rId6"/>
    <p:sldId id="496" r:id="rId7"/>
    <p:sldId id="3322" r:id="rId8"/>
    <p:sldId id="332" r:id="rId9"/>
    <p:sldId id="333" r:id="rId10"/>
    <p:sldId id="3323" r:id="rId11"/>
    <p:sldId id="3324" r:id="rId12"/>
    <p:sldId id="3325" r:id="rId13"/>
    <p:sldId id="497" r:id="rId14"/>
    <p:sldId id="3333" r:id="rId15"/>
    <p:sldId id="3340" r:id="rId16"/>
    <p:sldId id="3341" r:id="rId17"/>
    <p:sldId id="3334" r:id="rId18"/>
    <p:sldId id="3337" r:id="rId19"/>
    <p:sldId id="3339" r:id="rId20"/>
    <p:sldId id="3343" r:id="rId21"/>
    <p:sldId id="3342" r:id="rId22"/>
    <p:sldId id="3344" r:id="rId23"/>
    <p:sldId id="3348" r:id="rId24"/>
    <p:sldId id="3336" r:id="rId25"/>
    <p:sldId id="3335" r:id="rId26"/>
    <p:sldId id="3349" r:id="rId27"/>
    <p:sldId id="3345" r:id="rId28"/>
    <p:sldId id="3326" r:id="rId29"/>
    <p:sldId id="3328" r:id="rId30"/>
    <p:sldId id="3329" r:id="rId31"/>
    <p:sldId id="3330" r:id="rId32"/>
    <p:sldId id="3346" r:id="rId33"/>
    <p:sldId id="3331" r:id="rId34"/>
    <p:sldId id="3332" r:id="rId35"/>
    <p:sldId id="273" r:id="rId36"/>
  </p:sldIdLst>
  <p:sldSz cx="12192000" cy="6858000"/>
  <p:notesSz cx="6858000" cy="9144000"/>
  <p:custDataLst>
    <p:tags r:id="rId39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1" roundtripDataSignature="AMtx7milgaLlY74R3x8L4p/Dv7Fz+9spvQ==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ma Keränen" initials="UK" lastIdx="2" clrIdx="0">
    <p:extLst>
      <p:ext uri="{19B8F6BF-5375-455C-9EA6-DF929625EA0E}">
        <p15:presenceInfo xmlns:p15="http://schemas.microsoft.com/office/powerpoint/2012/main" userId="S::uma.keranen@avidlyagency.com::c7836dfe-4224-468a-8fdf-6dbc3f660e3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D93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ABB164F-CB5C-4382-9D42-5119846B90D3}" v="20" dt="2021-11-26T10:12:30.692"/>
  </p1510:revLst>
</p1510:revInfo>
</file>

<file path=ppt/tableStyles.xml><?xml version="1.0" encoding="utf-8"?>
<a:tblStyleLst xmlns:a="http://schemas.openxmlformats.org/drawingml/2006/main" def="{289276F1-8C4B-4114-9EF3-FEC59D02944E}">
  <a:tblStyle styleId="{289276F1-8C4B-4114-9EF3-FEC59D02944E}" styleName="Table_0">
    <a:wholeTbl>
      <a:tcTxStyle b="off" i="off">
        <a:font>
          <a:latin typeface="Trebuchet MS"/>
          <a:ea typeface="Trebuchet MS"/>
          <a:cs typeface="Trebuchet MS"/>
        </a:font>
        <a:schemeClr val="dk1"/>
      </a:tcTxStyle>
      <a:tcStyle>
        <a:tcBdr>
          <a:lef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127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insideV>
        </a:tcBdr>
        <a:fill>
          <a:solidFill>
            <a:srgbClr val="EEF4E9"/>
          </a:solidFill>
        </a:fill>
      </a:tcStyle>
    </a:wholeTbl>
    <a:band1H>
      <a:tcTxStyle/>
      <a:tcStyle>
        <a:tcBdr/>
        <a:fill>
          <a:solidFill>
            <a:srgbClr val="DBE9D0"/>
          </a:solidFill>
        </a:fill>
      </a:tcStyle>
    </a:band1H>
    <a:band2H>
      <a:tcTxStyle/>
      <a:tcStyle>
        <a:tcBdr/>
      </a:tcStyle>
    </a:band2H>
    <a:band1V>
      <a:tcTxStyle/>
      <a:tcStyle>
        <a:tcBdr/>
        <a:fill>
          <a:solidFill>
            <a:srgbClr val="DBE9D0"/>
          </a:solidFill>
        </a:fill>
      </a:tcStyle>
    </a:band1V>
    <a:band2V>
      <a:tcTxStyle/>
      <a:tcStyle>
        <a:tcBdr/>
      </a:tcStyle>
    </a:band2V>
    <a:la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top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top>
        </a:tcBdr>
        <a:fill>
          <a:solidFill>
            <a:schemeClr val="accent2"/>
          </a:solidFill>
        </a:fill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 b="on" i="off">
        <a:font>
          <a:latin typeface="Trebuchet MS"/>
          <a:ea typeface="Trebuchet MS"/>
          <a:cs typeface="Trebuchet MS"/>
        </a:font>
        <a:schemeClr val="lt1"/>
      </a:tcTxStyle>
      <a:tcStyle>
        <a:tcBdr>
          <a:bottom>
            <a:ln w="381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a:bottom>
        </a:tcBdr>
        <a:fill>
          <a:solidFill>
            <a:schemeClr val="accent2"/>
          </a:solidFill>
        </a:fill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940675A-B579-460E-94D1-54222C63F5DA}" styleName="Bez stylu, siatka tabeli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980"/>
    <p:restoredTop sz="94866"/>
  </p:normalViewPr>
  <p:slideViewPr>
    <p:cSldViewPr snapToGrid="0" snapToObjects="1">
      <p:cViewPr varScale="1">
        <p:scale>
          <a:sx n="62" d="100"/>
          <a:sy n="62" d="100"/>
        </p:scale>
        <p:origin x="560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commentAuthors" Target="commentAuthors.xml"/><Relationship Id="rId47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46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customschemas.google.com/relationships/presentationmetadata" Target="meta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presProps" Target="presProps.xml"/><Relationship Id="rId48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udny Dominik" userId="0339bbe9-1cf3-4358-a006-84654253c29c" providerId="ADAL" clId="{1ABB164F-CB5C-4382-9D42-5119846B90D3}"/>
    <pc:docChg chg="undo custSel addSld delSld modSld sldOrd">
      <pc:chgData name="Budny Dominik" userId="0339bbe9-1cf3-4358-a006-84654253c29c" providerId="ADAL" clId="{1ABB164F-CB5C-4382-9D42-5119846B90D3}" dt="2021-12-14T12:55:38.200" v="771" actId="20577"/>
      <pc:docMkLst>
        <pc:docMk/>
      </pc:docMkLst>
      <pc:sldChg chg="modSp mod">
        <pc:chgData name="Budny Dominik" userId="0339bbe9-1cf3-4358-a006-84654253c29c" providerId="ADAL" clId="{1ABB164F-CB5C-4382-9D42-5119846B90D3}" dt="2021-11-26T09:14:32.858" v="132" actId="20577"/>
        <pc:sldMkLst>
          <pc:docMk/>
          <pc:sldMk cId="0" sldId="273"/>
        </pc:sldMkLst>
        <pc:spChg chg="mod">
          <ac:chgData name="Budny Dominik" userId="0339bbe9-1cf3-4358-a006-84654253c29c" providerId="ADAL" clId="{1ABB164F-CB5C-4382-9D42-5119846B90D3}" dt="2021-11-26T09:14:32.858" v="132" actId="20577"/>
          <ac:spMkLst>
            <pc:docMk/>
            <pc:sldMk cId="0" sldId="273"/>
            <ac:spMk id="376" creationId="{00000000-0000-0000-0000-000000000000}"/>
          </ac:spMkLst>
        </pc:spChg>
      </pc:sldChg>
      <pc:sldChg chg="modSp mod">
        <pc:chgData name="Budny Dominik" userId="0339bbe9-1cf3-4358-a006-84654253c29c" providerId="ADAL" clId="{1ABB164F-CB5C-4382-9D42-5119846B90D3}" dt="2021-11-26T08:53:03.286" v="9" actId="20577"/>
        <pc:sldMkLst>
          <pc:docMk/>
          <pc:sldMk cId="2311513056" sldId="328"/>
        </pc:sldMkLst>
        <pc:spChg chg="mod">
          <ac:chgData name="Budny Dominik" userId="0339bbe9-1cf3-4358-a006-84654253c29c" providerId="ADAL" clId="{1ABB164F-CB5C-4382-9D42-5119846B90D3}" dt="2021-11-26T08:53:03.286" v="9" actId="20577"/>
          <ac:spMkLst>
            <pc:docMk/>
            <pc:sldMk cId="2311513056" sldId="328"/>
            <ac:spMk id="3" creationId="{98911B69-0BD6-455A-8DCE-9414A7D111C2}"/>
          </ac:spMkLst>
        </pc:spChg>
      </pc:sldChg>
      <pc:sldChg chg="modSp mod">
        <pc:chgData name="Budny Dominik" userId="0339bbe9-1cf3-4358-a006-84654253c29c" providerId="ADAL" clId="{1ABB164F-CB5C-4382-9D42-5119846B90D3}" dt="2021-11-26T10:07:40.279" v="548" actId="20577"/>
        <pc:sldMkLst>
          <pc:docMk/>
          <pc:sldMk cId="1908532618" sldId="497"/>
        </pc:sldMkLst>
        <pc:spChg chg="mod">
          <ac:chgData name="Budny Dominik" userId="0339bbe9-1cf3-4358-a006-84654253c29c" providerId="ADAL" clId="{1ABB164F-CB5C-4382-9D42-5119846B90D3}" dt="2021-11-26T08:53:48.651" v="11" actId="20577"/>
          <ac:spMkLst>
            <pc:docMk/>
            <pc:sldMk cId="1908532618" sldId="497"/>
            <ac:spMk id="2" creationId="{180C66B3-1A93-440B-BEEA-EF0BC8C734F1}"/>
          </ac:spMkLst>
        </pc:spChg>
        <pc:spChg chg="mod">
          <ac:chgData name="Budny Dominik" userId="0339bbe9-1cf3-4358-a006-84654253c29c" providerId="ADAL" clId="{1ABB164F-CB5C-4382-9D42-5119846B90D3}" dt="2021-11-26T10:07:40.279" v="548" actId="20577"/>
          <ac:spMkLst>
            <pc:docMk/>
            <pc:sldMk cId="1908532618" sldId="497"/>
            <ac:spMk id="5" creationId="{156923C2-E93A-457E-B1C2-2177A689F74B}"/>
          </ac:spMkLst>
        </pc:spChg>
      </pc:sldChg>
      <pc:sldChg chg="modSp mod">
        <pc:chgData name="Budny Dominik" userId="0339bbe9-1cf3-4358-a006-84654253c29c" providerId="ADAL" clId="{1ABB164F-CB5C-4382-9D42-5119846B90D3}" dt="2021-11-26T10:03:58.260" v="441" actId="20577"/>
        <pc:sldMkLst>
          <pc:docMk/>
          <pc:sldMk cId="696336231" sldId="3322"/>
        </pc:sldMkLst>
        <pc:spChg chg="mod">
          <ac:chgData name="Budny Dominik" userId="0339bbe9-1cf3-4358-a006-84654253c29c" providerId="ADAL" clId="{1ABB164F-CB5C-4382-9D42-5119846B90D3}" dt="2021-11-26T10:03:58.260" v="441" actId="20577"/>
          <ac:spMkLst>
            <pc:docMk/>
            <pc:sldMk cId="696336231" sldId="3322"/>
            <ac:spMk id="5" creationId="{156923C2-E93A-457E-B1C2-2177A689F74B}"/>
          </ac:spMkLst>
        </pc:spChg>
      </pc:sldChg>
      <pc:sldChg chg="modSp mod">
        <pc:chgData name="Budny Dominik" userId="0339bbe9-1cf3-4358-a006-84654253c29c" providerId="ADAL" clId="{1ABB164F-CB5C-4382-9D42-5119846B90D3}" dt="2021-12-06T14:50:03.643" v="735"/>
        <pc:sldMkLst>
          <pc:docMk/>
          <pc:sldMk cId="3419272553" sldId="3326"/>
        </pc:sldMkLst>
        <pc:spChg chg="mod">
          <ac:chgData name="Budny Dominik" userId="0339bbe9-1cf3-4358-a006-84654253c29c" providerId="ADAL" clId="{1ABB164F-CB5C-4382-9D42-5119846B90D3}" dt="2021-12-06T14:50:03.643" v="735"/>
          <ac:spMkLst>
            <pc:docMk/>
            <pc:sldMk cId="3419272553" sldId="3326"/>
            <ac:spMk id="5" creationId="{156923C2-E93A-457E-B1C2-2177A689F74B}"/>
          </ac:spMkLst>
        </pc:spChg>
      </pc:sldChg>
      <pc:sldChg chg="modSp add del mod">
        <pc:chgData name="Budny Dominik" userId="0339bbe9-1cf3-4358-a006-84654253c29c" providerId="ADAL" clId="{1ABB164F-CB5C-4382-9D42-5119846B90D3}" dt="2021-11-26T09:58:34.673" v="439" actId="47"/>
        <pc:sldMkLst>
          <pc:docMk/>
          <pc:sldMk cId="661105780" sldId="3327"/>
        </pc:sldMkLst>
        <pc:spChg chg="mod">
          <ac:chgData name="Budny Dominik" userId="0339bbe9-1cf3-4358-a006-84654253c29c" providerId="ADAL" clId="{1ABB164F-CB5C-4382-9D42-5119846B90D3}" dt="2021-11-26T09:36:11.620" v="200" actId="20577"/>
          <ac:spMkLst>
            <pc:docMk/>
            <pc:sldMk cId="661105780" sldId="3327"/>
            <ac:spMk id="2" creationId="{180C66B3-1A93-440B-BEEA-EF0BC8C734F1}"/>
          </ac:spMkLst>
        </pc:spChg>
        <pc:spChg chg="mod">
          <ac:chgData name="Budny Dominik" userId="0339bbe9-1cf3-4358-a006-84654253c29c" providerId="ADAL" clId="{1ABB164F-CB5C-4382-9D42-5119846B90D3}" dt="2021-11-26T09:35:55.115" v="185" actId="6549"/>
          <ac:spMkLst>
            <pc:docMk/>
            <pc:sldMk cId="661105780" sldId="3327"/>
            <ac:spMk id="5" creationId="{156923C2-E93A-457E-B1C2-2177A689F74B}"/>
          </ac:spMkLst>
        </pc:spChg>
      </pc:sldChg>
      <pc:sldChg chg="modSp mod">
        <pc:chgData name="Budny Dominik" userId="0339bbe9-1cf3-4358-a006-84654253c29c" providerId="ADAL" clId="{1ABB164F-CB5C-4382-9D42-5119846B90D3}" dt="2021-12-06T14:50:24.321" v="736"/>
        <pc:sldMkLst>
          <pc:docMk/>
          <pc:sldMk cId="3126134986" sldId="3328"/>
        </pc:sldMkLst>
        <pc:spChg chg="mod">
          <ac:chgData name="Budny Dominik" userId="0339bbe9-1cf3-4358-a006-84654253c29c" providerId="ADAL" clId="{1ABB164F-CB5C-4382-9D42-5119846B90D3}" dt="2021-12-06T14:50:24.321" v="736"/>
          <ac:spMkLst>
            <pc:docMk/>
            <pc:sldMk cId="3126134986" sldId="3328"/>
            <ac:spMk id="5" creationId="{156923C2-E93A-457E-B1C2-2177A689F74B}"/>
          </ac:spMkLst>
        </pc:spChg>
      </pc:sldChg>
      <pc:sldChg chg="modSp mod">
        <pc:chgData name="Budny Dominik" userId="0339bbe9-1cf3-4358-a006-84654253c29c" providerId="ADAL" clId="{1ABB164F-CB5C-4382-9D42-5119846B90D3}" dt="2021-12-10T13:36:26.641" v="746"/>
        <pc:sldMkLst>
          <pc:docMk/>
          <pc:sldMk cId="2254776325" sldId="3329"/>
        </pc:sldMkLst>
        <pc:spChg chg="mod">
          <ac:chgData name="Budny Dominik" userId="0339bbe9-1cf3-4358-a006-84654253c29c" providerId="ADAL" clId="{1ABB164F-CB5C-4382-9D42-5119846B90D3}" dt="2021-12-10T13:36:26.641" v="746"/>
          <ac:spMkLst>
            <pc:docMk/>
            <pc:sldMk cId="2254776325" sldId="3329"/>
            <ac:spMk id="5" creationId="{156923C2-E93A-457E-B1C2-2177A689F74B}"/>
          </ac:spMkLst>
        </pc:spChg>
      </pc:sldChg>
      <pc:sldChg chg="modSp mod">
        <pc:chgData name="Budny Dominik" userId="0339bbe9-1cf3-4358-a006-84654253c29c" providerId="ADAL" clId="{1ABB164F-CB5C-4382-9D42-5119846B90D3}" dt="2021-11-26T09:41:29.345" v="257" actId="20577"/>
        <pc:sldMkLst>
          <pc:docMk/>
          <pc:sldMk cId="1961192576" sldId="3330"/>
        </pc:sldMkLst>
        <pc:spChg chg="mod">
          <ac:chgData name="Budny Dominik" userId="0339bbe9-1cf3-4358-a006-84654253c29c" providerId="ADAL" clId="{1ABB164F-CB5C-4382-9D42-5119846B90D3}" dt="2021-11-26T09:41:29.345" v="257" actId="20577"/>
          <ac:spMkLst>
            <pc:docMk/>
            <pc:sldMk cId="1961192576" sldId="3330"/>
            <ac:spMk id="5" creationId="{156923C2-E93A-457E-B1C2-2177A689F74B}"/>
          </ac:spMkLst>
        </pc:spChg>
      </pc:sldChg>
      <pc:sldChg chg="modSp mod">
        <pc:chgData name="Budny Dominik" userId="0339bbe9-1cf3-4358-a006-84654253c29c" providerId="ADAL" clId="{1ABB164F-CB5C-4382-9D42-5119846B90D3}" dt="2021-11-26T10:22:08.657" v="724" actId="20577"/>
        <pc:sldMkLst>
          <pc:docMk/>
          <pc:sldMk cId="799462509" sldId="3332"/>
        </pc:sldMkLst>
        <pc:spChg chg="mod">
          <ac:chgData name="Budny Dominik" userId="0339bbe9-1cf3-4358-a006-84654253c29c" providerId="ADAL" clId="{1ABB164F-CB5C-4382-9D42-5119846B90D3}" dt="2021-11-26T10:22:08.657" v="724" actId="20577"/>
          <ac:spMkLst>
            <pc:docMk/>
            <pc:sldMk cId="799462509" sldId="3332"/>
            <ac:spMk id="3" creationId="{C6C82C44-D3B2-4755-A64E-3538B1145A85}"/>
          </ac:spMkLst>
        </pc:spChg>
      </pc:sldChg>
      <pc:sldChg chg="addSp delSp modSp mod setBg">
        <pc:chgData name="Budny Dominik" userId="0339bbe9-1cf3-4358-a006-84654253c29c" providerId="ADAL" clId="{1ABB164F-CB5C-4382-9D42-5119846B90D3}" dt="2021-11-26T08:56:56.702" v="42" actId="26606"/>
        <pc:sldMkLst>
          <pc:docMk/>
          <pc:sldMk cId="1528536219" sldId="3333"/>
        </pc:sldMkLst>
        <pc:spChg chg="add del">
          <ac:chgData name="Budny Dominik" userId="0339bbe9-1cf3-4358-a006-84654253c29c" providerId="ADAL" clId="{1ABB164F-CB5C-4382-9D42-5119846B90D3}" dt="2021-11-26T08:56:56.702" v="41" actId="26606"/>
          <ac:spMkLst>
            <pc:docMk/>
            <pc:sldMk cId="1528536219" sldId="3333"/>
            <ac:spMk id="8" creationId="{DB1626B1-BAC7-4893-A5AC-620597685187}"/>
          </ac:spMkLst>
        </pc:spChg>
        <pc:spChg chg="add del">
          <ac:chgData name="Budny Dominik" userId="0339bbe9-1cf3-4358-a006-84654253c29c" providerId="ADAL" clId="{1ABB164F-CB5C-4382-9D42-5119846B90D3}" dt="2021-11-26T08:56:56.702" v="41" actId="26606"/>
          <ac:spMkLst>
            <pc:docMk/>
            <pc:sldMk cId="1528536219" sldId="3333"/>
            <ac:spMk id="10" creationId="{8950AD4C-6AF3-49F8-94E1-DBCAFB39478B}"/>
          </ac:spMkLst>
        </pc:spChg>
        <pc:spChg chg="add del">
          <ac:chgData name="Budny Dominik" userId="0339bbe9-1cf3-4358-a006-84654253c29c" providerId="ADAL" clId="{1ABB164F-CB5C-4382-9D42-5119846B90D3}" dt="2021-11-26T08:56:56.702" v="41" actId="26606"/>
          <ac:spMkLst>
            <pc:docMk/>
            <pc:sldMk cId="1528536219" sldId="3333"/>
            <ac:spMk id="12" creationId="{C85F553D-483A-4D93-B429-9C1258836046}"/>
          </ac:spMkLst>
        </pc:spChg>
        <pc:spChg chg="add del">
          <ac:chgData name="Budny Dominik" userId="0339bbe9-1cf3-4358-a006-84654253c29c" providerId="ADAL" clId="{1ABB164F-CB5C-4382-9D42-5119846B90D3}" dt="2021-11-26T08:54:56.386" v="23" actId="478"/>
          <ac:spMkLst>
            <pc:docMk/>
            <pc:sldMk cId="1528536219" sldId="3333"/>
            <ac:spMk id="13" creationId="{FF23CE5E-66E7-4613-984C-A2CCF6963552}"/>
          </ac:spMkLst>
        </pc:spChg>
        <pc:spChg chg="add del">
          <ac:chgData name="Budny Dominik" userId="0339bbe9-1cf3-4358-a006-84654253c29c" providerId="ADAL" clId="{1ABB164F-CB5C-4382-9D42-5119846B90D3}" dt="2021-11-26T08:56:56.702" v="41" actId="26606"/>
          <ac:spMkLst>
            <pc:docMk/>
            <pc:sldMk cId="1528536219" sldId="3333"/>
            <ac:spMk id="16" creationId="{D64E9910-51FE-45BF-973D-9D2401FD3C63}"/>
          </ac:spMkLst>
        </pc:spChg>
        <pc:spChg chg="add">
          <ac:chgData name="Budny Dominik" userId="0339bbe9-1cf3-4358-a006-84654253c29c" providerId="ADAL" clId="{1ABB164F-CB5C-4382-9D42-5119846B90D3}" dt="2021-11-26T08:56:56.702" v="42" actId="26606"/>
          <ac:spMkLst>
            <pc:docMk/>
            <pc:sldMk cId="1528536219" sldId="3333"/>
            <ac:spMk id="18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8:56:56.702" v="42" actId="26606"/>
          <ac:spMkLst>
            <pc:docMk/>
            <pc:sldMk cId="1528536219" sldId="3333"/>
            <ac:spMk id="19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8:56:56.702" v="42" actId="26606"/>
          <ac:spMkLst>
            <pc:docMk/>
            <pc:sldMk cId="1528536219" sldId="3333"/>
            <ac:spMk id="20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8:56:56.702" v="42" actId="26606"/>
          <ac:spMkLst>
            <pc:docMk/>
            <pc:sldMk cId="1528536219" sldId="3333"/>
            <ac:spMk id="21" creationId="{A8D57A06-A426-446D-B02C-A2DC6B62E45E}"/>
          </ac:spMkLst>
        </pc:spChg>
        <pc:picChg chg="add del mod">
          <ac:chgData name="Budny Dominik" userId="0339bbe9-1cf3-4358-a006-84654253c29c" providerId="ADAL" clId="{1ABB164F-CB5C-4382-9D42-5119846B90D3}" dt="2021-11-26T08:54:36.066" v="22" actId="931"/>
          <ac:picMkLst>
            <pc:docMk/>
            <pc:sldMk cId="1528536219" sldId="3333"/>
            <ac:picMk id="3" creationId="{08688CD6-1682-4274-9089-002A11E90601}"/>
          </ac:picMkLst>
        </pc:picChg>
        <pc:picChg chg="add mod">
          <ac:chgData name="Budny Dominik" userId="0339bbe9-1cf3-4358-a006-84654253c29c" providerId="ADAL" clId="{1ABB164F-CB5C-4382-9D42-5119846B90D3}" dt="2021-11-26T08:56:56.702" v="42" actId="26606"/>
          <ac:picMkLst>
            <pc:docMk/>
            <pc:sldMk cId="1528536219" sldId="3333"/>
            <ac:picMk id="5" creationId="{1E51525B-3D38-408B-9398-C9CB8E6DAC45}"/>
          </ac:picMkLst>
        </pc:picChg>
        <pc:picChg chg="add del mod">
          <ac:chgData name="Budny Dominik" userId="0339bbe9-1cf3-4358-a006-84654253c29c" providerId="ADAL" clId="{1ABB164F-CB5C-4382-9D42-5119846B90D3}" dt="2021-11-26T08:56:40.755" v="37" actId="478"/>
          <ac:picMkLst>
            <pc:docMk/>
            <pc:sldMk cId="1528536219" sldId="3333"/>
            <ac:picMk id="7" creationId="{93EB6B21-892B-4711-8238-CF3383E478D2}"/>
          </ac:picMkLst>
        </pc:picChg>
        <pc:picChg chg="del mod">
          <ac:chgData name="Budny Dominik" userId="0339bbe9-1cf3-4358-a006-84654253c29c" providerId="ADAL" clId="{1ABB164F-CB5C-4382-9D42-5119846B90D3}" dt="2021-11-26T08:54:06.004" v="15" actId="478"/>
          <ac:picMkLst>
            <pc:docMk/>
            <pc:sldMk cId="1528536219" sldId="3333"/>
            <ac:picMk id="9" creationId="{A5A6EBDE-FB04-4754-A253-2ABC15E4D9EA}"/>
          </ac:picMkLst>
        </pc:picChg>
        <pc:picChg chg="del">
          <ac:chgData name="Budny Dominik" userId="0339bbe9-1cf3-4358-a006-84654253c29c" providerId="ADAL" clId="{1ABB164F-CB5C-4382-9D42-5119846B90D3}" dt="2021-11-26T08:54:02.138" v="12" actId="478"/>
          <ac:picMkLst>
            <pc:docMk/>
            <pc:sldMk cId="1528536219" sldId="3333"/>
            <ac:picMk id="11" creationId="{F6FB3F92-D329-41D1-8AC4-88BF8DB795F6}"/>
          </ac:picMkLst>
        </pc:picChg>
        <pc:picChg chg="del">
          <ac:chgData name="Budny Dominik" userId="0339bbe9-1cf3-4358-a006-84654253c29c" providerId="ADAL" clId="{1ABB164F-CB5C-4382-9D42-5119846B90D3}" dt="2021-11-26T08:54:04.339" v="13" actId="478"/>
          <ac:picMkLst>
            <pc:docMk/>
            <pc:sldMk cId="1528536219" sldId="3333"/>
            <ac:picMk id="14" creationId="{159BDACA-674C-4B8B-A9DF-762BC387933A}"/>
          </ac:picMkLst>
        </pc:picChg>
      </pc:sldChg>
      <pc:sldChg chg="addSp delSp modSp new mod setBg">
        <pc:chgData name="Budny Dominik" userId="0339bbe9-1cf3-4358-a006-84654253c29c" providerId="ADAL" clId="{1ABB164F-CB5C-4382-9D42-5119846B90D3}" dt="2021-11-26T09:03:16.332" v="61" actId="26606"/>
        <pc:sldMkLst>
          <pc:docMk/>
          <pc:sldMk cId="831098329" sldId="3334"/>
        </pc:sldMkLst>
        <pc:spChg chg="del">
          <ac:chgData name="Budny Dominik" userId="0339bbe9-1cf3-4358-a006-84654253c29c" providerId="ADAL" clId="{1ABB164F-CB5C-4382-9D42-5119846B90D3}" dt="2021-11-26T08:57:23.099" v="47" actId="26606"/>
          <ac:spMkLst>
            <pc:docMk/>
            <pc:sldMk cId="831098329" sldId="3334"/>
            <ac:spMk id="2" creationId="{515D45D3-3F1D-4C89-A3BF-272BD1115B6D}"/>
          </ac:spMkLst>
        </pc:spChg>
        <pc:spChg chg="del">
          <ac:chgData name="Budny Dominik" userId="0339bbe9-1cf3-4358-a006-84654253c29c" providerId="ADAL" clId="{1ABB164F-CB5C-4382-9D42-5119846B90D3}" dt="2021-11-26T08:57:23.099" v="47" actId="26606"/>
          <ac:spMkLst>
            <pc:docMk/>
            <pc:sldMk cId="831098329" sldId="3334"/>
            <ac:spMk id="3" creationId="{F15906F1-53F8-431D-B8B6-39F3C29476B8}"/>
          </ac:spMkLst>
        </pc:spChg>
        <pc:spChg chg="del">
          <ac:chgData name="Budny Dominik" userId="0339bbe9-1cf3-4358-a006-84654253c29c" providerId="ADAL" clId="{1ABB164F-CB5C-4382-9D42-5119846B90D3}" dt="2021-11-26T08:57:23.099" v="47" actId="26606"/>
          <ac:spMkLst>
            <pc:docMk/>
            <pc:sldMk cId="831098329" sldId="3334"/>
            <ac:spMk id="4" creationId="{AD91FDB1-1D3B-4018-9275-8EF3653A4B85}"/>
          </ac:spMkLst>
        </pc:spChg>
        <pc:spChg chg="del">
          <ac:chgData name="Budny Dominik" userId="0339bbe9-1cf3-4358-a006-84654253c29c" providerId="ADAL" clId="{1ABB164F-CB5C-4382-9D42-5119846B90D3}" dt="2021-11-26T08:57:09.982" v="44" actId="931"/>
          <ac:spMkLst>
            <pc:docMk/>
            <pc:sldMk cId="831098329" sldId="3334"/>
            <ac:spMk id="5" creationId="{8C2F6354-CA45-4EA8-AC7E-214AEB088689}"/>
          </ac:spMkLst>
        </pc:spChg>
        <pc:spChg chg="add del">
          <ac:chgData name="Budny Dominik" userId="0339bbe9-1cf3-4358-a006-84654253c29c" providerId="ADAL" clId="{1ABB164F-CB5C-4382-9D42-5119846B90D3}" dt="2021-11-26T09:03:16.332" v="61" actId="26606"/>
          <ac:spMkLst>
            <pc:docMk/>
            <pc:sldMk cId="831098329" sldId="3334"/>
            <ac:spMk id="12" creationId="{C7D023E4-8DE1-436E-9847-ED6A4B4B04FD}"/>
          </ac:spMkLst>
        </pc:spChg>
        <pc:spChg chg="add del">
          <ac:chgData name="Budny Dominik" userId="0339bbe9-1cf3-4358-a006-84654253c29c" providerId="ADAL" clId="{1ABB164F-CB5C-4382-9D42-5119846B90D3}" dt="2021-11-26T09:03:16.332" v="61" actId="26606"/>
          <ac:spMkLst>
            <pc:docMk/>
            <pc:sldMk cId="831098329" sldId="3334"/>
            <ac:spMk id="14" creationId="{8B2B1708-8CE4-4A20-94F5-55118AE2CBD7}"/>
          </ac:spMkLst>
        </pc:spChg>
        <pc:spChg chg="add">
          <ac:chgData name="Budny Dominik" userId="0339bbe9-1cf3-4358-a006-84654253c29c" providerId="ADAL" clId="{1ABB164F-CB5C-4382-9D42-5119846B90D3}" dt="2021-11-26T09:03:16.332" v="61" actId="26606"/>
          <ac:spMkLst>
            <pc:docMk/>
            <pc:sldMk cId="831098329" sldId="3334"/>
            <ac:spMk id="32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03:16.332" v="61" actId="26606"/>
          <ac:spMkLst>
            <pc:docMk/>
            <pc:sldMk cId="831098329" sldId="3334"/>
            <ac:spMk id="34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03:16.332" v="61" actId="26606"/>
          <ac:spMkLst>
            <pc:docMk/>
            <pc:sldMk cId="831098329" sldId="3334"/>
            <ac:spMk id="36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03:16.332" v="61" actId="26606"/>
          <ac:spMkLst>
            <pc:docMk/>
            <pc:sldMk cId="831098329" sldId="3334"/>
            <ac:spMk id="38" creationId="{A8D57A06-A426-446D-B02C-A2DC6B62E45E}"/>
          </ac:spMkLst>
        </pc:spChg>
        <pc:grpChg chg="add del">
          <ac:chgData name="Budny Dominik" userId="0339bbe9-1cf3-4358-a006-84654253c29c" providerId="ADAL" clId="{1ABB164F-CB5C-4382-9D42-5119846B90D3}" dt="2021-11-26T09:03:16.332" v="61" actId="26606"/>
          <ac:grpSpMkLst>
            <pc:docMk/>
            <pc:sldMk cId="831098329" sldId="3334"/>
            <ac:grpSpMk id="16" creationId="{EC2D6DD8-FAD6-401D-9DE6-71DD04C980F3}"/>
          </ac:grpSpMkLst>
        </pc:grpChg>
        <pc:grpChg chg="add del">
          <ac:chgData name="Budny Dominik" userId="0339bbe9-1cf3-4358-a006-84654253c29c" providerId="ADAL" clId="{1ABB164F-CB5C-4382-9D42-5119846B90D3}" dt="2021-11-26T09:03:16.332" v="61" actId="26606"/>
          <ac:grpSpMkLst>
            <pc:docMk/>
            <pc:sldMk cId="831098329" sldId="3334"/>
            <ac:grpSpMk id="20" creationId="{43F5E015-E085-4624-B431-B42414448684}"/>
          </ac:grpSpMkLst>
        </pc:grpChg>
        <pc:picChg chg="add mod">
          <ac:chgData name="Budny Dominik" userId="0339bbe9-1cf3-4358-a006-84654253c29c" providerId="ADAL" clId="{1ABB164F-CB5C-4382-9D42-5119846B90D3}" dt="2021-11-26T09:03:16.332" v="61" actId="26606"/>
          <ac:picMkLst>
            <pc:docMk/>
            <pc:sldMk cId="831098329" sldId="3334"/>
            <ac:picMk id="7" creationId="{557CF66C-C127-4009-91C4-134DF7CD6F11}"/>
          </ac:picMkLst>
        </pc:picChg>
      </pc:sldChg>
      <pc:sldChg chg="addSp delSp modSp new mod ord setBg">
        <pc:chgData name="Budny Dominik" userId="0339bbe9-1cf3-4358-a006-84654253c29c" providerId="ADAL" clId="{1ABB164F-CB5C-4382-9D42-5119846B90D3}" dt="2021-11-26T09:10:55.163" v="108"/>
        <pc:sldMkLst>
          <pc:docMk/>
          <pc:sldMk cId="1682185954" sldId="3335"/>
        </pc:sldMkLst>
        <pc:spChg chg="del">
          <ac:chgData name="Budny Dominik" userId="0339bbe9-1cf3-4358-a006-84654253c29c" providerId="ADAL" clId="{1ABB164F-CB5C-4382-9D42-5119846B90D3}" dt="2021-11-26T08:57:49.558" v="52" actId="26606"/>
          <ac:spMkLst>
            <pc:docMk/>
            <pc:sldMk cId="1682185954" sldId="3335"/>
            <ac:spMk id="2" creationId="{4002F685-9A04-42FA-97F1-3876AF227FCE}"/>
          </ac:spMkLst>
        </pc:spChg>
        <pc:spChg chg="del">
          <ac:chgData name="Budny Dominik" userId="0339bbe9-1cf3-4358-a006-84654253c29c" providerId="ADAL" clId="{1ABB164F-CB5C-4382-9D42-5119846B90D3}" dt="2021-11-26T08:57:49.558" v="52" actId="26606"/>
          <ac:spMkLst>
            <pc:docMk/>
            <pc:sldMk cId="1682185954" sldId="3335"/>
            <ac:spMk id="3" creationId="{E35CD3D2-4A60-4790-AD45-006BD569E14B}"/>
          </ac:spMkLst>
        </pc:spChg>
        <pc:spChg chg="del">
          <ac:chgData name="Budny Dominik" userId="0339bbe9-1cf3-4358-a006-84654253c29c" providerId="ADAL" clId="{1ABB164F-CB5C-4382-9D42-5119846B90D3}" dt="2021-11-26T08:57:49.558" v="52" actId="26606"/>
          <ac:spMkLst>
            <pc:docMk/>
            <pc:sldMk cId="1682185954" sldId="3335"/>
            <ac:spMk id="4" creationId="{C0E30FC0-56A9-4D70-A149-91E29381D421}"/>
          </ac:spMkLst>
        </pc:spChg>
        <pc:spChg chg="del">
          <ac:chgData name="Budny Dominik" userId="0339bbe9-1cf3-4358-a006-84654253c29c" providerId="ADAL" clId="{1ABB164F-CB5C-4382-9D42-5119846B90D3}" dt="2021-11-26T08:57:43.926" v="49" actId="931"/>
          <ac:spMkLst>
            <pc:docMk/>
            <pc:sldMk cId="1682185954" sldId="3335"/>
            <ac:spMk id="5" creationId="{DD2859AA-2805-4D25-A2AF-3A37D83CF05E}"/>
          </ac:spMkLst>
        </pc:spChg>
        <pc:spChg chg="add del">
          <ac:chgData name="Budny Dominik" userId="0339bbe9-1cf3-4358-a006-84654253c29c" providerId="ADAL" clId="{1ABB164F-CB5C-4382-9D42-5119846B90D3}" dt="2021-11-26T09:01:05.075" v="60" actId="26606"/>
          <ac:spMkLst>
            <pc:docMk/>
            <pc:sldMk cId="1682185954" sldId="3335"/>
            <ac:spMk id="12" creationId="{E3CD7FE7-1237-41A0-B6C8-B0EFC310C435}"/>
          </ac:spMkLst>
        </pc:spChg>
        <pc:spChg chg="add del">
          <ac:chgData name="Budny Dominik" userId="0339bbe9-1cf3-4358-a006-84654253c29c" providerId="ADAL" clId="{1ABB164F-CB5C-4382-9D42-5119846B90D3}" dt="2021-11-26T09:01:05.075" v="60" actId="26606"/>
          <ac:spMkLst>
            <pc:docMk/>
            <pc:sldMk cId="1682185954" sldId="3335"/>
            <ac:spMk id="14" creationId="{EB4E13AA-9A9A-446A-B0A3-443BA34BB51A}"/>
          </ac:spMkLst>
        </pc:spChg>
        <pc:spChg chg="add del">
          <ac:chgData name="Budny Dominik" userId="0339bbe9-1cf3-4358-a006-84654253c29c" providerId="ADAL" clId="{1ABB164F-CB5C-4382-9D42-5119846B90D3}" dt="2021-11-26T09:01:05.075" v="60" actId="26606"/>
          <ac:spMkLst>
            <pc:docMk/>
            <pc:sldMk cId="1682185954" sldId="3335"/>
            <ac:spMk id="24" creationId="{FC62434D-2094-4FE0-9DE1-66F7D01E0F9F}"/>
          </ac:spMkLst>
        </pc:spChg>
        <pc:spChg chg="add del">
          <ac:chgData name="Budny Dominik" userId="0339bbe9-1cf3-4358-a006-84654253c29c" providerId="ADAL" clId="{1ABB164F-CB5C-4382-9D42-5119846B90D3}" dt="2021-11-26T09:01:05.075" v="60" actId="26606"/>
          <ac:spMkLst>
            <pc:docMk/>
            <pc:sldMk cId="1682185954" sldId="3335"/>
            <ac:spMk id="32" creationId="{2BCB8B4F-F675-4134-B6FC-FE54CFAB1936}"/>
          </ac:spMkLst>
        </pc:spChg>
        <pc:spChg chg="add">
          <ac:chgData name="Budny Dominik" userId="0339bbe9-1cf3-4358-a006-84654253c29c" providerId="ADAL" clId="{1ABB164F-CB5C-4382-9D42-5119846B90D3}" dt="2021-11-26T09:01:05.075" v="60" actId="26606"/>
          <ac:spMkLst>
            <pc:docMk/>
            <pc:sldMk cId="1682185954" sldId="3335"/>
            <ac:spMk id="49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01:05.075" v="60" actId="26606"/>
          <ac:spMkLst>
            <pc:docMk/>
            <pc:sldMk cId="1682185954" sldId="3335"/>
            <ac:spMk id="51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01:05.075" v="60" actId="26606"/>
          <ac:spMkLst>
            <pc:docMk/>
            <pc:sldMk cId="1682185954" sldId="3335"/>
            <ac:spMk id="53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01:05.075" v="60" actId="26606"/>
          <ac:spMkLst>
            <pc:docMk/>
            <pc:sldMk cId="1682185954" sldId="3335"/>
            <ac:spMk id="55" creationId="{A8D57A06-A426-446D-B02C-A2DC6B62E45E}"/>
          </ac:spMkLst>
        </pc:spChg>
        <pc:grpChg chg="add del">
          <ac:chgData name="Budny Dominik" userId="0339bbe9-1cf3-4358-a006-84654253c29c" providerId="ADAL" clId="{1ABB164F-CB5C-4382-9D42-5119846B90D3}" dt="2021-11-26T09:01:05.075" v="60" actId="26606"/>
          <ac:grpSpMkLst>
            <pc:docMk/>
            <pc:sldMk cId="1682185954" sldId="3335"/>
            <ac:grpSpMk id="16" creationId="{5FFA6810-6C3D-4754-B472-DF60413D61FE}"/>
          </ac:grpSpMkLst>
        </pc:grpChg>
        <pc:grpChg chg="add del">
          <ac:chgData name="Budny Dominik" userId="0339bbe9-1cf3-4358-a006-84654253c29c" providerId="ADAL" clId="{1ABB164F-CB5C-4382-9D42-5119846B90D3}" dt="2021-11-26T09:01:05.075" v="60" actId="26606"/>
          <ac:grpSpMkLst>
            <pc:docMk/>
            <pc:sldMk cId="1682185954" sldId="3335"/>
            <ac:grpSpMk id="26" creationId="{2767291C-F63A-465E-A2D1-04BA96121FE2}"/>
          </ac:grpSpMkLst>
        </pc:grpChg>
        <pc:grpChg chg="add del">
          <ac:chgData name="Budny Dominik" userId="0339bbe9-1cf3-4358-a006-84654253c29c" providerId="ADAL" clId="{1ABB164F-CB5C-4382-9D42-5119846B90D3}" dt="2021-11-26T09:01:05.075" v="60" actId="26606"/>
          <ac:grpSpMkLst>
            <pc:docMk/>
            <pc:sldMk cId="1682185954" sldId="3335"/>
            <ac:grpSpMk id="34" creationId="{A6BBBA07-FBD1-4D0D-9EB9-F7608965F409}"/>
          </ac:grpSpMkLst>
        </pc:grpChg>
        <pc:grpChg chg="add del">
          <ac:chgData name="Budny Dominik" userId="0339bbe9-1cf3-4358-a006-84654253c29c" providerId="ADAL" clId="{1ABB164F-CB5C-4382-9D42-5119846B90D3}" dt="2021-11-26T09:01:05.075" v="60" actId="26606"/>
          <ac:grpSpMkLst>
            <pc:docMk/>
            <pc:sldMk cId="1682185954" sldId="3335"/>
            <ac:grpSpMk id="40" creationId="{C34AA602-4B49-4D15-8863-224D616449F5}"/>
          </ac:grpSpMkLst>
        </pc:grpChg>
        <pc:picChg chg="add mod">
          <ac:chgData name="Budny Dominik" userId="0339bbe9-1cf3-4358-a006-84654253c29c" providerId="ADAL" clId="{1ABB164F-CB5C-4382-9D42-5119846B90D3}" dt="2021-11-26T09:01:05.075" v="60" actId="26606"/>
          <ac:picMkLst>
            <pc:docMk/>
            <pc:sldMk cId="1682185954" sldId="3335"/>
            <ac:picMk id="7" creationId="{4ADC7AA3-795D-4A38-B0D6-751B5A9C07F2}"/>
          </ac:picMkLst>
        </pc:picChg>
      </pc:sldChg>
      <pc:sldChg chg="addSp delSp modSp new mod ord setBg">
        <pc:chgData name="Budny Dominik" userId="0339bbe9-1cf3-4358-a006-84654253c29c" providerId="ADAL" clId="{1ABB164F-CB5C-4382-9D42-5119846B90D3}" dt="2021-11-26T09:10:49.557" v="106"/>
        <pc:sldMkLst>
          <pc:docMk/>
          <pc:sldMk cId="3386666168" sldId="3336"/>
        </pc:sldMkLst>
        <pc:spChg chg="del">
          <ac:chgData name="Budny Dominik" userId="0339bbe9-1cf3-4358-a006-84654253c29c" providerId="ADAL" clId="{1ABB164F-CB5C-4382-9D42-5119846B90D3}" dt="2021-11-26T09:00:41.704" v="59" actId="26606"/>
          <ac:spMkLst>
            <pc:docMk/>
            <pc:sldMk cId="3386666168" sldId="3336"/>
            <ac:spMk id="2" creationId="{788888A9-9CBC-423C-AE7C-717865657665}"/>
          </ac:spMkLst>
        </pc:spChg>
        <pc:spChg chg="del">
          <ac:chgData name="Budny Dominik" userId="0339bbe9-1cf3-4358-a006-84654253c29c" providerId="ADAL" clId="{1ABB164F-CB5C-4382-9D42-5119846B90D3}" dt="2021-11-26T09:00:41.704" v="59" actId="26606"/>
          <ac:spMkLst>
            <pc:docMk/>
            <pc:sldMk cId="3386666168" sldId="3336"/>
            <ac:spMk id="3" creationId="{63C83790-32E4-466F-88B9-619BF1164550}"/>
          </ac:spMkLst>
        </pc:spChg>
        <pc:spChg chg="del">
          <ac:chgData name="Budny Dominik" userId="0339bbe9-1cf3-4358-a006-84654253c29c" providerId="ADAL" clId="{1ABB164F-CB5C-4382-9D42-5119846B90D3}" dt="2021-11-26T09:00:41.704" v="59" actId="26606"/>
          <ac:spMkLst>
            <pc:docMk/>
            <pc:sldMk cId="3386666168" sldId="3336"/>
            <ac:spMk id="4" creationId="{92A35543-5FBC-424C-BF72-DAD1309D4C1A}"/>
          </ac:spMkLst>
        </pc:spChg>
        <pc:spChg chg="del">
          <ac:chgData name="Budny Dominik" userId="0339bbe9-1cf3-4358-a006-84654253c29c" providerId="ADAL" clId="{1ABB164F-CB5C-4382-9D42-5119846B90D3}" dt="2021-11-26T09:00:36.437" v="56" actId="931"/>
          <ac:spMkLst>
            <pc:docMk/>
            <pc:sldMk cId="3386666168" sldId="3336"/>
            <ac:spMk id="5" creationId="{BBA3D2CD-27F7-4048-B975-6AB95E364621}"/>
          </ac:spMkLst>
        </pc:spChg>
        <pc:spChg chg="add">
          <ac:chgData name="Budny Dominik" userId="0339bbe9-1cf3-4358-a006-84654253c29c" providerId="ADAL" clId="{1ABB164F-CB5C-4382-9D42-5119846B90D3}" dt="2021-11-26T09:00:41.704" v="59" actId="26606"/>
          <ac:spMkLst>
            <pc:docMk/>
            <pc:sldMk cId="3386666168" sldId="3336"/>
            <ac:spMk id="12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00:41.704" v="59" actId="26606"/>
          <ac:spMkLst>
            <pc:docMk/>
            <pc:sldMk cId="3386666168" sldId="3336"/>
            <ac:spMk id="14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00:41.704" v="59" actId="26606"/>
          <ac:spMkLst>
            <pc:docMk/>
            <pc:sldMk cId="3386666168" sldId="3336"/>
            <ac:spMk id="16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00:41.704" v="59" actId="26606"/>
          <ac:spMkLst>
            <pc:docMk/>
            <pc:sldMk cId="3386666168" sldId="3336"/>
            <ac:spMk id="18" creationId="{A8D57A06-A426-446D-B02C-A2DC6B62E45E}"/>
          </ac:spMkLst>
        </pc:spChg>
        <pc:picChg chg="add mod">
          <ac:chgData name="Budny Dominik" userId="0339bbe9-1cf3-4358-a006-84654253c29c" providerId="ADAL" clId="{1ABB164F-CB5C-4382-9D42-5119846B90D3}" dt="2021-11-26T09:00:41.704" v="59" actId="26606"/>
          <ac:picMkLst>
            <pc:docMk/>
            <pc:sldMk cId="3386666168" sldId="3336"/>
            <ac:picMk id="7" creationId="{FED88BED-8898-46B0-B32C-A5BBD5515008}"/>
          </ac:picMkLst>
        </pc:picChg>
      </pc:sldChg>
      <pc:sldChg chg="addSp delSp modSp new mod setBg">
        <pc:chgData name="Budny Dominik" userId="0339bbe9-1cf3-4358-a006-84654253c29c" providerId="ADAL" clId="{1ABB164F-CB5C-4382-9D42-5119846B90D3}" dt="2021-11-26T09:05:13.621" v="74" actId="26606"/>
        <pc:sldMkLst>
          <pc:docMk/>
          <pc:sldMk cId="289308563" sldId="3337"/>
        </pc:sldMkLst>
        <pc:spChg chg="add del">
          <ac:chgData name="Budny Dominik" userId="0339bbe9-1cf3-4358-a006-84654253c29c" providerId="ADAL" clId="{1ABB164F-CB5C-4382-9D42-5119846B90D3}" dt="2021-11-26T09:04:39.071" v="68" actId="26606"/>
          <ac:spMkLst>
            <pc:docMk/>
            <pc:sldMk cId="289308563" sldId="3337"/>
            <ac:spMk id="2" creationId="{EB853147-F022-447F-B7F2-1AE1375C1322}"/>
          </ac:spMkLst>
        </pc:spChg>
        <pc:spChg chg="add del">
          <ac:chgData name="Budny Dominik" userId="0339bbe9-1cf3-4358-a006-84654253c29c" providerId="ADAL" clId="{1ABB164F-CB5C-4382-9D42-5119846B90D3}" dt="2021-11-26T09:04:39.071" v="68" actId="26606"/>
          <ac:spMkLst>
            <pc:docMk/>
            <pc:sldMk cId="289308563" sldId="3337"/>
            <ac:spMk id="3" creationId="{3CDA346E-9C50-4DBC-8989-26D303D24D10}"/>
          </ac:spMkLst>
        </pc:spChg>
        <pc:spChg chg="add del">
          <ac:chgData name="Budny Dominik" userId="0339bbe9-1cf3-4358-a006-84654253c29c" providerId="ADAL" clId="{1ABB164F-CB5C-4382-9D42-5119846B90D3}" dt="2021-11-26T09:04:39.071" v="68" actId="26606"/>
          <ac:spMkLst>
            <pc:docMk/>
            <pc:sldMk cId="289308563" sldId="3337"/>
            <ac:spMk id="4" creationId="{BF03702B-D06D-4E12-8C01-EC2B1BD81E13}"/>
          </ac:spMkLst>
        </pc:spChg>
        <pc:spChg chg="del">
          <ac:chgData name="Budny Dominik" userId="0339bbe9-1cf3-4358-a006-84654253c29c" providerId="ADAL" clId="{1ABB164F-CB5C-4382-9D42-5119846B90D3}" dt="2021-11-26T09:04:23.826" v="63" actId="931"/>
          <ac:spMkLst>
            <pc:docMk/>
            <pc:sldMk cId="289308563" sldId="3337"/>
            <ac:spMk id="5" creationId="{A70FCE8D-E150-4321-ADA4-4D7CEC122677}"/>
          </ac:spMkLst>
        </pc:spChg>
        <pc:spChg chg="add del">
          <ac:chgData name="Budny Dominik" userId="0339bbe9-1cf3-4358-a006-84654253c29c" providerId="ADAL" clId="{1ABB164F-CB5C-4382-9D42-5119846B90D3}" dt="2021-11-26T09:04:38.970" v="67" actId="26606"/>
          <ac:spMkLst>
            <pc:docMk/>
            <pc:sldMk cId="289308563" sldId="3337"/>
            <ac:spMk id="12" creationId="{C3896A03-3945-419A-B66B-4EE266EDD152}"/>
          </ac:spMkLst>
        </pc:spChg>
        <pc:spChg chg="add del">
          <ac:chgData name="Budny Dominik" userId="0339bbe9-1cf3-4358-a006-84654253c29c" providerId="ADAL" clId="{1ABB164F-CB5C-4382-9D42-5119846B90D3}" dt="2021-11-26T09:05:13.621" v="74" actId="26606"/>
          <ac:spMkLst>
            <pc:docMk/>
            <pc:sldMk cId="289308563" sldId="3337"/>
            <ac:spMk id="14" creationId="{8B2B1708-8CE4-4A20-94F5-55118AE2CBD7}"/>
          </ac:spMkLst>
        </pc:spChg>
        <pc:spChg chg="add del">
          <ac:chgData name="Budny Dominik" userId="0339bbe9-1cf3-4358-a006-84654253c29c" providerId="ADAL" clId="{1ABB164F-CB5C-4382-9D42-5119846B90D3}" dt="2021-11-26T09:05:13.621" v="74" actId="26606"/>
          <ac:spMkLst>
            <pc:docMk/>
            <pc:sldMk cId="289308563" sldId="3337"/>
            <ac:spMk id="15" creationId="{C7D023E4-8DE1-436E-9847-ED6A4B4B04FD}"/>
          </ac:spMkLst>
        </pc:spChg>
        <pc:spChg chg="add">
          <ac:chgData name="Budny Dominik" userId="0339bbe9-1cf3-4358-a006-84654253c29c" providerId="ADAL" clId="{1ABB164F-CB5C-4382-9D42-5119846B90D3}" dt="2021-11-26T09:05:13.621" v="74" actId="26606"/>
          <ac:spMkLst>
            <pc:docMk/>
            <pc:sldMk cId="289308563" sldId="3337"/>
            <ac:spMk id="32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05:13.621" v="74" actId="26606"/>
          <ac:spMkLst>
            <pc:docMk/>
            <pc:sldMk cId="289308563" sldId="3337"/>
            <ac:spMk id="34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05:13.621" v="74" actId="26606"/>
          <ac:spMkLst>
            <pc:docMk/>
            <pc:sldMk cId="289308563" sldId="3337"/>
            <ac:spMk id="36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05:13.621" v="74" actId="26606"/>
          <ac:spMkLst>
            <pc:docMk/>
            <pc:sldMk cId="289308563" sldId="3337"/>
            <ac:spMk id="38" creationId="{A8D57A06-A426-446D-B02C-A2DC6B62E45E}"/>
          </ac:spMkLst>
        </pc:spChg>
        <pc:grpChg chg="add del">
          <ac:chgData name="Budny Dominik" userId="0339bbe9-1cf3-4358-a006-84654253c29c" providerId="ADAL" clId="{1ABB164F-CB5C-4382-9D42-5119846B90D3}" dt="2021-11-26T09:05:13.621" v="74" actId="26606"/>
          <ac:grpSpMkLst>
            <pc:docMk/>
            <pc:sldMk cId="289308563" sldId="3337"/>
            <ac:grpSpMk id="16" creationId="{EC2D6DD8-FAD6-401D-9DE6-71DD04C980F3}"/>
          </ac:grpSpMkLst>
        </pc:grpChg>
        <pc:grpChg chg="add del">
          <ac:chgData name="Budny Dominik" userId="0339bbe9-1cf3-4358-a006-84654253c29c" providerId="ADAL" clId="{1ABB164F-CB5C-4382-9D42-5119846B90D3}" dt="2021-11-26T09:05:13.621" v="74" actId="26606"/>
          <ac:grpSpMkLst>
            <pc:docMk/>
            <pc:sldMk cId="289308563" sldId="3337"/>
            <ac:grpSpMk id="20" creationId="{43F5E015-E085-4624-B431-B42414448684}"/>
          </ac:grpSpMkLst>
        </pc:grpChg>
        <pc:picChg chg="add mod">
          <ac:chgData name="Budny Dominik" userId="0339bbe9-1cf3-4358-a006-84654253c29c" providerId="ADAL" clId="{1ABB164F-CB5C-4382-9D42-5119846B90D3}" dt="2021-11-26T09:05:13.621" v="74" actId="26606"/>
          <ac:picMkLst>
            <pc:docMk/>
            <pc:sldMk cId="289308563" sldId="3337"/>
            <ac:picMk id="7" creationId="{493290C6-52A1-4CBC-9B3D-06DDD2444366}"/>
          </ac:picMkLst>
        </pc:picChg>
      </pc:sldChg>
      <pc:sldChg chg="addSp delSp modSp new del mod setBg">
        <pc:chgData name="Budny Dominik" userId="0339bbe9-1cf3-4358-a006-84654253c29c" providerId="ADAL" clId="{1ABB164F-CB5C-4382-9D42-5119846B90D3}" dt="2021-11-26T10:23:30.702" v="725" actId="47"/>
        <pc:sldMkLst>
          <pc:docMk/>
          <pc:sldMk cId="1714745833" sldId="3338"/>
        </pc:sldMkLst>
        <pc:spChg chg="del">
          <ac:chgData name="Budny Dominik" userId="0339bbe9-1cf3-4358-a006-84654253c29c" providerId="ADAL" clId="{1ABB164F-CB5C-4382-9D42-5119846B90D3}" dt="2021-11-26T09:05:06.907" v="73" actId="26606"/>
          <ac:spMkLst>
            <pc:docMk/>
            <pc:sldMk cId="1714745833" sldId="3338"/>
            <ac:spMk id="2" creationId="{F6EC4052-426B-4749-94EE-B73F2A508866}"/>
          </ac:spMkLst>
        </pc:spChg>
        <pc:spChg chg="del">
          <ac:chgData name="Budny Dominik" userId="0339bbe9-1cf3-4358-a006-84654253c29c" providerId="ADAL" clId="{1ABB164F-CB5C-4382-9D42-5119846B90D3}" dt="2021-11-26T09:05:06.907" v="73" actId="26606"/>
          <ac:spMkLst>
            <pc:docMk/>
            <pc:sldMk cId="1714745833" sldId="3338"/>
            <ac:spMk id="3" creationId="{1FF75D76-6B0D-45B2-BBF6-4A405EC5BCC9}"/>
          </ac:spMkLst>
        </pc:spChg>
        <pc:spChg chg="del">
          <ac:chgData name="Budny Dominik" userId="0339bbe9-1cf3-4358-a006-84654253c29c" providerId="ADAL" clId="{1ABB164F-CB5C-4382-9D42-5119846B90D3}" dt="2021-11-26T09:05:06.907" v="73" actId="26606"/>
          <ac:spMkLst>
            <pc:docMk/>
            <pc:sldMk cId="1714745833" sldId="3338"/>
            <ac:spMk id="4" creationId="{25579D14-125F-4691-BC8B-18D9F392D4D0}"/>
          </ac:spMkLst>
        </pc:spChg>
        <pc:spChg chg="del">
          <ac:chgData name="Budny Dominik" userId="0339bbe9-1cf3-4358-a006-84654253c29c" providerId="ADAL" clId="{1ABB164F-CB5C-4382-9D42-5119846B90D3}" dt="2021-11-26T09:05:02.086" v="70" actId="931"/>
          <ac:spMkLst>
            <pc:docMk/>
            <pc:sldMk cId="1714745833" sldId="3338"/>
            <ac:spMk id="5" creationId="{78107724-A4FE-4A9D-9293-62BAC849FB83}"/>
          </ac:spMkLst>
        </pc:spChg>
        <pc:spChg chg="add">
          <ac:chgData name="Budny Dominik" userId="0339bbe9-1cf3-4358-a006-84654253c29c" providerId="ADAL" clId="{1ABB164F-CB5C-4382-9D42-5119846B90D3}" dt="2021-11-26T09:05:06.907" v="73" actId="26606"/>
          <ac:spMkLst>
            <pc:docMk/>
            <pc:sldMk cId="1714745833" sldId="3338"/>
            <ac:spMk id="12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05:06.907" v="73" actId="26606"/>
          <ac:spMkLst>
            <pc:docMk/>
            <pc:sldMk cId="1714745833" sldId="3338"/>
            <ac:spMk id="14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05:06.907" v="73" actId="26606"/>
          <ac:spMkLst>
            <pc:docMk/>
            <pc:sldMk cId="1714745833" sldId="3338"/>
            <ac:spMk id="16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05:06.907" v="73" actId="26606"/>
          <ac:spMkLst>
            <pc:docMk/>
            <pc:sldMk cId="1714745833" sldId="3338"/>
            <ac:spMk id="18" creationId="{A8D57A06-A426-446D-B02C-A2DC6B62E45E}"/>
          </ac:spMkLst>
        </pc:spChg>
        <pc:picChg chg="add mod">
          <ac:chgData name="Budny Dominik" userId="0339bbe9-1cf3-4358-a006-84654253c29c" providerId="ADAL" clId="{1ABB164F-CB5C-4382-9D42-5119846B90D3}" dt="2021-11-26T09:05:06.907" v="73" actId="26606"/>
          <ac:picMkLst>
            <pc:docMk/>
            <pc:sldMk cId="1714745833" sldId="3338"/>
            <ac:picMk id="7" creationId="{4E5DEAD8-3995-4E1B-8FE9-1988DAFC92FE}"/>
          </ac:picMkLst>
        </pc:picChg>
      </pc:sldChg>
      <pc:sldChg chg="addSp delSp modSp new mod setBg">
        <pc:chgData name="Budny Dominik" userId="0339bbe9-1cf3-4358-a006-84654253c29c" providerId="ADAL" clId="{1ABB164F-CB5C-4382-9D42-5119846B90D3}" dt="2021-11-26T09:05:29.890" v="79" actId="26606"/>
        <pc:sldMkLst>
          <pc:docMk/>
          <pc:sldMk cId="2381488820" sldId="3339"/>
        </pc:sldMkLst>
        <pc:spChg chg="del">
          <ac:chgData name="Budny Dominik" userId="0339bbe9-1cf3-4358-a006-84654253c29c" providerId="ADAL" clId="{1ABB164F-CB5C-4382-9D42-5119846B90D3}" dt="2021-11-26T09:05:29.890" v="79" actId="26606"/>
          <ac:spMkLst>
            <pc:docMk/>
            <pc:sldMk cId="2381488820" sldId="3339"/>
            <ac:spMk id="2" creationId="{F320D6A2-6BA7-4CD6-86D4-D9F32707CD82}"/>
          </ac:spMkLst>
        </pc:spChg>
        <pc:spChg chg="del">
          <ac:chgData name="Budny Dominik" userId="0339bbe9-1cf3-4358-a006-84654253c29c" providerId="ADAL" clId="{1ABB164F-CB5C-4382-9D42-5119846B90D3}" dt="2021-11-26T09:05:29.890" v="79" actId="26606"/>
          <ac:spMkLst>
            <pc:docMk/>
            <pc:sldMk cId="2381488820" sldId="3339"/>
            <ac:spMk id="3" creationId="{C51412B6-905E-4DD7-A08E-EDED4091DB63}"/>
          </ac:spMkLst>
        </pc:spChg>
        <pc:spChg chg="del">
          <ac:chgData name="Budny Dominik" userId="0339bbe9-1cf3-4358-a006-84654253c29c" providerId="ADAL" clId="{1ABB164F-CB5C-4382-9D42-5119846B90D3}" dt="2021-11-26T09:05:29.890" v="79" actId="26606"/>
          <ac:spMkLst>
            <pc:docMk/>
            <pc:sldMk cId="2381488820" sldId="3339"/>
            <ac:spMk id="4" creationId="{56C72D91-12A3-46D1-9199-BF52EDE8CD39}"/>
          </ac:spMkLst>
        </pc:spChg>
        <pc:spChg chg="del">
          <ac:chgData name="Budny Dominik" userId="0339bbe9-1cf3-4358-a006-84654253c29c" providerId="ADAL" clId="{1ABB164F-CB5C-4382-9D42-5119846B90D3}" dt="2021-11-26T09:05:24.391" v="76" actId="931"/>
          <ac:spMkLst>
            <pc:docMk/>
            <pc:sldMk cId="2381488820" sldId="3339"/>
            <ac:spMk id="5" creationId="{1AFF9DCC-39F0-4908-A657-4B2438A24498}"/>
          </ac:spMkLst>
        </pc:spChg>
        <pc:spChg chg="add">
          <ac:chgData name="Budny Dominik" userId="0339bbe9-1cf3-4358-a006-84654253c29c" providerId="ADAL" clId="{1ABB164F-CB5C-4382-9D42-5119846B90D3}" dt="2021-11-26T09:05:29.890" v="79" actId="26606"/>
          <ac:spMkLst>
            <pc:docMk/>
            <pc:sldMk cId="2381488820" sldId="3339"/>
            <ac:spMk id="12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05:29.890" v="79" actId="26606"/>
          <ac:spMkLst>
            <pc:docMk/>
            <pc:sldMk cId="2381488820" sldId="3339"/>
            <ac:spMk id="14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05:29.890" v="79" actId="26606"/>
          <ac:spMkLst>
            <pc:docMk/>
            <pc:sldMk cId="2381488820" sldId="3339"/>
            <ac:spMk id="16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05:29.890" v="79" actId="26606"/>
          <ac:spMkLst>
            <pc:docMk/>
            <pc:sldMk cId="2381488820" sldId="3339"/>
            <ac:spMk id="18" creationId="{A8D57A06-A426-446D-B02C-A2DC6B62E45E}"/>
          </ac:spMkLst>
        </pc:spChg>
        <pc:picChg chg="add mod">
          <ac:chgData name="Budny Dominik" userId="0339bbe9-1cf3-4358-a006-84654253c29c" providerId="ADAL" clId="{1ABB164F-CB5C-4382-9D42-5119846B90D3}" dt="2021-11-26T09:05:29.890" v="79" actId="26606"/>
          <ac:picMkLst>
            <pc:docMk/>
            <pc:sldMk cId="2381488820" sldId="3339"/>
            <ac:picMk id="7" creationId="{924BF600-B69E-489D-859F-726FE7CC2B9E}"/>
          </ac:picMkLst>
        </pc:picChg>
      </pc:sldChg>
      <pc:sldChg chg="addSp delSp modSp new mod ord setBg">
        <pc:chgData name="Budny Dominik" userId="0339bbe9-1cf3-4358-a006-84654253c29c" providerId="ADAL" clId="{1ABB164F-CB5C-4382-9D42-5119846B90D3}" dt="2021-11-26T09:08:31.309" v="91" actId="26606"/>
        <pc:sldMkLst>
          <pc:docMk/>
          <pc:sldMk cId="4012000935" sldId="3340"/>
        </pc:sldMkLst>
        <pc:spChg chg="del">
          <ac:chgData name="Budny Dominik" userId="0339bbe9-1cf3-4358-a006-84654253c29c" providerId="ADAL" clId="{1ABB164F-CB5C-4382-9D42-5119846B90D3}" dt="2021-11-26T09:07:38.586" v="84" actId="26606"/>
          <ac:spMkLst>
            <pc:docMk/>
            <pc:sldMk cId="4012000935" sldId="3340"/>
            <ac:spMk id="2" creationId="{4069BB88-80B7-4833-9445-7BC2AB399917}"/>
          </ac:spMkLst>
        </pc:spChg>
        <pc:spChg chg="del">
          <ac:chgData name="Budny Dominik" userId="0339bbe9-1cf3-4358-a006-84654253c29c" providerId="ADAL" clId="{1ABB164F-CB5C-4382-9D42-5119846B90D3}" dt="2021-11-26T09:07:38.586" v="84" actId="26606"/>
          <ac:spMkLst>
            <pc:docMk/>
            <pc:sldMk cId="4012000935" sldId="3340"/>
            <ac:spMk id="3" creationId="{3A486B0A-11A2-40BC-9E9C-B0A567175C77}"/>
          </ac:spMkLst>
        </pc:spChg>
        <pc:spChg chg="del">
          <ac:chgData name="Budny Dominik" userId="0339bbe9-1cf3-4358-a006-84654253c29c" providerId="ADAL" clId="{1ABB164F-CB5C-4382-9D42-5119846B90D3}" dt="2021-11-26T09:07:38.586" v="84" actId="26606"/>
          <ac:spMkLst>
            <pc:docMk/>
            <pc:sldMk cId="4012000935" sldId="3340"/>
            <ac:spMk id="4" creationId="{AC3E45EC-D664-4702-B0AF-77D61377904B}"/>
          </ac:spMkLst>
        </pc:spChg>
        <pc:spChg chg="del">
          <ac:chgData name="Budny Dominik" userId="0339bbe9-1cf3-4358-a006-84654253c29c" providerId="ADAL" clId="{1ABB164F-CB5C-4382-9D42-5119846B90D3}" dt="2021-11-26T09:07:35.232" v="81" actId="931"/>
          <ac:spMkLst>
            <pc:docMk/>
            <pc:sldMk cId="4012000935" sldId="3340"/>
            <ac:spMk id="5" creationId="{A840EAD6-4CF4-451E-B49B-1D01B572B96C}"/>
          </ac:spMkLst>
        </pc:spChg>
        <pc:spChg chg="add del">
          <ac:chgData name="Budny Dominik" userId="0339bbe9-1cf3-4358-a006-84654253c29c" providerId="ADAL" clId="{1ABB164F-CB5C-4382-9D42-5119846B90D3}" dt="2021-11-26T09:08:31.309" v="91" actId="26606"/>
          <ac:spMkLst>
            <pc:docMk/>
            <pc:sldMk cId="4012000935" sldId="3340"/>
            <ac:spMk id="12" creationId="{C3896A03-3945-419A-B66B-4EE266EDD152}"/>
          </ac:spMkLst>
        </pc:spChg>
        <pc:spChg chg="add">
          <ac:chgData name="Budny Dominik" userId="0339bbe9-1cf3-4358-a006-84654253c29c" providerId="ADAL" clId="{1ABB164F-CB5C-4382-9D42-5119846B90D3}" dt="2021-11-26T09:08:31.309" v="91" actId="26606"/>
          <ac:spMkLst>
            <pc:docMk/>
            <pc:sldMk cId="4012000935" sldId="3340"/>
            <ac:spMk id="17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08:31.309" v="91" actId="26606"/>
          <ac:spMkLst>
            <pc:docMk/>
            <pc:sldMk cId="4012000935" sldId="3340"/>
            <ac:spMk id="19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08:31.309" v="91" actId="26606"/>
          <ac:spMkLst>
            <pc:docMk/>
            <pc:sldMk cId="4012000935" sldId="3340"/>
            <ac:spMk id="21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08:31.309" v="91" actId="26606"/>
          <ac:spMkLst>
            <pc:docMk/>
            <pc:sldMk cId="4012000935" sldId="3340"/>
            <ac:spMk id="23" creationId="{A8D57A06-A426-446D-B02C-A2DC6B62E45E}"/>
          </ac:spMkLst>
        </pc:spChg>
        <pc:picChg chg="add mod">
          <ac:chgData name="Budny Dominik" userId="0339bbe9-1cf3-4358-a006-84654253c29c" providerId="ADAL" clId="{1ABB164F-CB5C-4382-9D42-5119846B90D3}" dt="2021-11-26T09:08:31.309" v="91" actId="26606"/>
          <ac:picMkLst>
            <pc:docMk/>
            <pc:sldMk cId="4012000935" sldId="3340"/>
            <ac:picMk id="7" creationId="{F8D559C1-C7E3-484F-98E5-C661DF709228}"/>
          </ac:picMkLst>
        </pc:picChg>
      </pc:sldChg>
      <pc:sldChg chg="addSp delSp modSp new mod setBg">
        <pc:chgData name="Budny Dominik" userId="0339bbe9-1cf3-4358-a006-84654253c29c" providerId="ADAL" clId="{1ABB164F-CB5C-4382-9D42-5119846B90D3}" dt="2021-11-26T09:08:36.199" v="92" actId="26606"/>
        <pc:sldMkLst>
          <pc:docMk/>
          <pc:sldMk cId="2013295688" sldId="3341"/>
        </pc:sldMkLst>
        <pc:spChg chg="del">
          <ac:chgData name="Budny Dominik" userId="0339bbe9-1cf3-4358-a006-84654253c29c" providerId="ADAL" clId="{1ABB164F-CB5C-4382-9D42-5119846B90D3}" dt="2021-11-26T09:08:23.944" v="90" actId="26606"/>
          <ac:spMkLst>
            <pc:docMk/>
            <pc:sldMk cId="2013295688" sldId="3341"/>
            <ac:spMk id="2" creationId="{ADED4D68-7C82-4536-A5EA-BC7D9D6223F0}"/>
          </ac:spMkLst>
        </pc:spChg>
        <pc:spChg chg="del">
          <ac:chgData name="Budny Dominik" userId="0339bbe9-1cf3-4358-a006-84654253c29c" providerId="ADAL" clId="{1ABB164F-CB5C-4382-9D42-5119846B90D3}" dt="2021-11-26T09:08:23.944" v="90" actId="26606"/>
          <ac:spMkLst>
            <pc:docMk/>
            <pc:sldMk cId="2013295688" sldId="3341"/>
            <ac:spMk id="3" creationId="{02B3ED5D-5B31-462F-9365-55B8B7A4A741}"/>
          </ac:spMkLst>
        </pc:spChg>
        <pc:spChg chg="del">
          <ac:chgData name="Budny Dominik" userId="0339bbe9-1cf3-4358-a006-84654253c29c" providerId="ADAL" clId="{1ABB164F-CB5C-4382-9D42-5119846B90D3}" dt="2021-11-26T09:08:23.944" v="90" actId="26606"/>
          <ac:spMkLst>
            <pc:docMk/>
            <pc:sldMk cId="2013295688" sldId="3341"/>
            <ac:spMk id="4" creationId="{DFF1FDE0-9BBF-4298-8B09-44F3679405D0}"/>
          </ac:spMkLst>
        </pc:spChg>
        <pc:spChg chg="del">
          <ac:chgData name="Budny Dominik" userId="0339bbe9-1cf3-4358-a006-84654253c29c" providerId="ADAL" clId="{1ABB164F-CB5C-4382-9D42-5119846B90D3}" dt="2021-11-26T09:08:03.344" v="88" actId="931"/>
          <ac:spMkLst>
            <pc:docMk/>
            <pc:sldMk cId="2013295688" sldId="3341"/>
            <ac:spMk id="5" creationId="{6FC09F84-07A3-4F3D-9AB3-925BCD84F4EC}"/>
          </ac:spMkLst>
        </pc:spChg>
        <pc:spChg chg="add del">
          <ac:chgData name="Budny Dominik" userId="0339bbe9-1cf3-4358-a006-84654253c29c" providerId="ADAL" clId="{1ABB164F-CB5C-4382-9D42-5119846B90D3}" dt="2021-11-26T09:08:36.199" v="92" actId="26606"/>
          <ac:spMkLst>
            <pc:docMk/>
            <pc:sldMk cId="2013295688" sldId="3341"/>
            <ac:spMk id="12" creationId="{C3896A03-3945-419A-B66B-4EE266EDD152}"/>
          </ac:spMkLst>
        </pc:spChg>
        <pc:spChg chg="add">
          <ac:chgData name="Budny Dominik" userId="0339bbe9-1cf3-4358-a006-84654253c29c" providerId="ADAL" clId="{1ABB164F-CB5C-4382-9D42-5119846B90D3}" dt="2021-11-26T09:08:36.199" v="92" actId="26606"/>
          <ac:spMkLst>
            <pc:docMk/>
            <pc:sldMk cId="2013295688" sldId="3341"/>
            <ac:spMk id="17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08:36.199" v="92" actId="26606"/>
          <ac:spMkLst>
            <pc:docMk/>
            <pc:sldMk cId="2013295688" sldId="3341"/>
            <ac:spMk id="19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08:36.199" v="92" actId="26606"/>
          <ac:spMkLst>
            <pc:docMk/>
            <pc:sldMk cId="2013295688" sldId="3341"/>
            <ac:spMk id="21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08:36.199" v="92" actId="26606"/>
          <ac:spMkLst>
            <pc:docMk/>
            <pc:sldMk cId="2013295688" sldId="3341"/>
            <ac:spMk id="23" creationId="{A8D57A06-A426-446D-B02C-A2DC6B62E45E}"/>
          </ac:spMkLst>
        </pc:spChg>
        <pc:picChg chg="add mod">
          <ac:chgData name="Budny Dominik" userId="0339bbe9-1cf3-4358-a006-84654253c29c" providerId="ADAL" clId="{1ABB164F-CB5C-4382-9D42-5119846B90D3}" dt="2021-11-26T09:08:36.199" v="92" actId="26606"/>
          <ac:picMkLst>
            <pc:docMk/>
            <pc:sldMk cId="2013295688" sldId="3341"/>
            <ac:picMk id="7" creationId="{90FC338A-29F8-42D6-A299-02BE309A904D}"/>
          </ac:picMkLst>
        </pc:picChg>
      </pc:sldChg>
      <pc:sldChg chg="addSp delSp modSp new mod setBg">
        <pc:chgData name="Budny Dominik" userId="0339bbe9-1cf3-4358-a006-84654253c29c" providerId="ADAL" clId="{1ABB164F-CB5C-4382-9D42-5119846B90D3}" dt="2021-11-26T09:09:55.067" v="97" actId="26606"/>
        <pc:sldMkLst>
          <pc:docMk/>
          <pc:sldMk cId="2177599940" sldId="3342"/>
        </pc:sldMkLst>
        <pc:spChg chg="del">
          <ac:chgData name="Budny Dominik" userId="0339bbe9-1cf3-4358-a006-84654253c29c" providerId="ADAL" clId="{1ABB164F-CB5C-4382-9D42-5119846B90D3}" dt="2021-11-26T09:09:55.067" v="97" actId="26606"/>
          <ac:spMkLst>
            <pc:docMk/>
            <pc:sldMk cId="2177599940" sldId="3342"/>
            <ac:spMk id="2" creationId="{1305ECFA-3263-428C-9201-AB400D885EEF}"/>
          </ac:spMkLst>
        </pc:spChg>
        <pc:spChg chg="del">
          <ac:chgData name="Budny Dominik" userId="0339bbe9-1cf3-4358-a006-84654253c29c" providerId="ADAL" clId="{1ABB164F-CB5C-4382-9D42-5119846B90D3}" dt="2021-11-26T09:09:55.067" v="97" actId="26606"/>
          <ac:spMkLst>
            <pc:docMk/>
            <pc:sldMk cId="2177599940" sldId="3342"/>
            <ac:spMk id="3" creationId="{2E1D301F-12DD-4771-92A5-1A7267949D6A}"/>
          </ac:spMkLst>
        </pc:spChg>
        <pc:spChg chg="del">
          <ac:chgData name="Budny Dominik" userId="0339bbe9-1cf3-4358-a006-84654253c29c" providerId="ADAL" clId="{1ABB164F-CB5C-4382-9D42-5119846B90D3}" dt="2021-11-26T09:09:55.067" v="97" actId="26606"/>
          <ac:spMkLst>
            <pc:docMk/>
            <pc:sldMk cId="2177599940" sldId="3342"/>
            <ac:spMk id="4" creationId="{53A3B491-7153-45F1-8DFD-FDBBBF6CA37E}"/>
          </ac:spMkLst>
        </pc:spChg>
        <pc:spChg chg="del">
          <ac:chgData name="Budny Dominik" userId="0339bbe9-1cf3-4358-a006-84654253c29c" providerId="ADAL" clId="{1ABB164F-CB5C-4382-9D42-5119846B90D3}" dt="2021-11-26T09:09:51.072" v="94" actId="931"/>
          <ac:spMkLst>
            <pc:docMk/>
            <pc:sldMk cId="2177599940" sldId="3342"/>
            <ac:spMk id="5" creationId="{FDF4A203-F882-48FF-9065-11E3E4B15ED2}"/>
          </ac:spMkLst>
        </pc:spChg>
        <pc:spChg chg="add">
          <ac:chgData name="Budny Dominik" userId="0339bbe9-1cf3-4358-a006-84654253c29c" providerId="ADAL" clId="{1ABB164F-CB5C-4382-9D42-5119846B90D3}" dt="2021-11-26T09:09:55.067" v="97" actId="26606"/>
          <ac:spMkLst>
            <pc:docMk/>
            <pc:sldMk cId="2177599940" sldId="3342"/>
            <ac:spMk id="12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09:55.067" v="97" actId="26606"/>
          <ac:spMkLst>
            <pc:docMk/>
            <pc:sldMk cId="2177599940" sldId="3342"/>
            <ac:spMk id="14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09:55.067" v="97" actId="26606"/>
          <ac:spMkLst>
            <pc:docMk/>
            <pc:sldMk cId="2177599940" sldId="3342"/>
            <ac:spMk id="16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09:55.067" v="97" actId="26606"/>
          <ac:spMkLst>
            <pc:docMk/>
            <pc:sldMk cId="2177599940" sldId="3342"/>
            <ac:spMk id="18" creationId="{A8D57A06-A426-446D-B02C-A2DC6B62E45E}"/>
          </ac:spMkLst>
        </pc:spChg>
        <pc:picChg chg="add mod">
          <ac:chgData name="Budny Dominik" userId="0339bbe9-1cf3-4358-a006-84654253c29c" providerId="ADAL" clId="{1ABB164F-CB5C-4382-9D42-5119846B90D3}" dt="2021-11-26T09:09:55.067" v="97" actId="26606"/>
          <ac:picMkLst>
            <pc:docMk/>
            <pc:sldMk cId="2177599940" sldId="3342"/>
            <ac:picMk id="7" creationId="{4F17FF70-33FD-4CD7-BA62-DDCF676DB6F2}"/>
          </ac:picMkLst>
        </pc:picChg>
      </pc:sldChg>
      <pc:sldChg chg="addSp delSp modSp new mod setBg">
        <pc:chgData name="Budny Dominik" userId="0339bbe9-1cf3-4358-a006-84654253c29c" providerId="ADAL" clId="{1ABB164F-CB5C-4382-9D42-5119846B90D3}" dt="2021-11-26T09:10:34.673" v="104" actId="26606"/>
        <pc:sldMkLst>
          <pc:docMk/>
          <pc:sldMk cId="159667849" sldId="3343"/>
        </pc:sldMkLst>
        <pc:spChg chg="del mod ord">
          <ac:chgData name="Budny Dominik" userId="0339bbe9-1cf3-4358-a006-84654253c29c" providerId="ADAL" clId="{1ABB164F-CB5C-4382-9D42-5119846B90D3}" dt="2021-11-26T09:10:34.673" v="104" actId="26606"/>
          <ac:spMkLst>
            <pc:docMk/>
            <pc:sldMk cId="159667849" sldId="3343"/>
            <ac:spMk id="2" creationId="{4C5BA341-9CCD-44BF-9514-9177C7BA0DA5}"/>
          </ac:spMkLst>
        </pc:spChg>
        <pc:spChg chg="add del">
          <ac:chgData name="Budny Dominik" userId="0339bbe9-1cf3-4358-a006-84654253c29c" providerId="ADAL" clId="{1ABB164F-CB5C-4382-9D42-5119846B90D3}" dt="2021-11-26T09:10:34.673" v="104" actId="26606"/>
          <ac:spMkLst>
            <pc:docMk/>
            <pc:sldMk cId="159667849" sldId="3343"/>
            <ac:spMk id="3" creationId="{156EEB2B-7C12-4180-936B-85091947B210}"/>
          </ac:spMkLst>
        </pc:spChg>
        <pc:spChg chg="add del">
          <ac:chgData name="Budny Dominik" userId="0339bbe9-1cf3-4358-a006-84654253c29c" providerId="ADAL" clId="{1ABB164F-CB5C-4382-9D42-5119846B90D3}" dt="2021-11-26T09:10:34.673" v="104" actId="26606"/>
          <ac:spMkLst>
            <pc:docMk/>
            <pc:sldMk cId="159667849" sldId="3343"/>
            <ac:spMk id="4" creationId="{573549C0-7C4B-4970-BC9E-15527206FFB5}"/>
          </ac:spMkLst>
        </pc:spChg>
        <pc:spChg chg="del">
          <ac:chgData name="Budny Dominik" userId="0339bbe9-1cf3-4358-a006-84654253c29c" providerId="ADAL" clId="{1ABB164F-CB5C-4382-9D42-5119846B90D3}" dt="2021-11-26T09:10:20.739" v="99" actId="931"/>
          <ac:spMkLst>
            <pc:docMk/>
            <pc:sldMk cId="159667849" sldId="3343"/>
            <ac:spMk id="5" creationId="{B2D289CF-5C48-447E-A5E0-B17E8F072C76}"/>
          </ac:spMkLst>
        </pc:spChg>
        <pc:spChg chg="add del">
          <ac:chgData name="Budny Dominik" userId="0339bbe9-1cf3-4358-a006-84654253c29c" providerId="ADAL" clId="{1ABB164F-CB5C-4382-9D42-5119846B90D3}" dt="2021-11-26T09:10:34.658" v="103" actId="26606"/>
          <ac:spMkLst>
            <pc:docMk/>
            <pc:sldMk cId="159667849" sldId="3343"/>
            <ac:spMk id="12" creationId="{37C89E4B-3C9F-44B9-8B86-D9E3D112D8EC}"/>
          </ac:spMkLst>
        </pc:spChg>
        <pc:spChg chg="add">
          <ac:chgData name="Budny Dominik" userId="0339bbe9-1cf3-4358-a006-84654253c29c" providerId="ADAL" clId="{1ABB164F-CB5C-4382-9D42-5119846B90D3}" dt="2021-11-26T09:10:34.673" v="104" actId="26606"/>
          <ac:spMkLst>
            <pc:docMk/>
            <pc:sldMk cId="159667849" sldId="3343"/>
            <ac:spMk id="18" creationId="{A8D57A06-A426-446D-B02C-A2DC6B62E45E}"/>
          </ac:spMkLst>
        </pc:spChg>
        <pc:spChg chg="add">
          <ac:chgData name="Budny Dominik" userId="0339bbe9-1cf3-4358-a006-84654253c29c" providerId="ADAL" clId="{1ABB164F-CB5C-4382-9D42-5119846B90D3}" dt="2021-11-26T09:10:34.673" v="104" actId="26606"/>
          <ac:spMkLst>
            <pc:docMk/>
            <pc:sldMk cId="159667849" sldId="3343"/>
            <ac:spMk id="19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10:34.673" v="104" actId="26606"/>
          <ac:spMkLst>
            <pc:docMk/>
            <pc:sldMk cId="159667849" sldId="3343"/>
            <ac:spMk id="20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10:34.673" v="104" actId="26606"/>
          <ac:spMkLst>
            <pc:docMk/>
            <pc:sldMk cId="159667849" sldId="3343"/>
            <ac:spMk id="21" creationId="{2633B3B5-CC90-43F0-8714-D31D1F3F0209}"/>
          </ac:spMkLst>
        </pc:spChg>
        <pc:picChg chg="add mod">
          <ac:chgData name="Budny Dominik" userId="0339bbe9-1cf3-4358-a006-84654253c29c" providerId="ADAL" clId="{1ABB164F-CB5C-4382-9D42-5119846B90D3}" dt="2021-11-26T09:10:34.673" v="104" actId="26606"/>
          <ac:picMkLst>
            <pc:docMk/>
            <pc:sldMk cId="159667849" sldId="3343"/>
            <ac:picMk id="7" creationId="{AC1AD6B8-C67C-4F3C-ACFC-8682E4825EFC}"/>
          </ac:picMkLst>
        </pc:picChg>
        <pc:cxnChg chg="add del">
          <ac:chgData name="Budny Dominik" userId="0339bbe9-1cf3-4358-a006-84654253c29c" providerId="ADAL" clId="{1ABB164F-CB5C-4382-9D42-5119846B90D3}" dt="2021-11-26T09:10:34.658" v="103" actId="26606"/>
          <ac:cxnSpMkLst>
            <pc:docMk/>
            <pc:sldMk cId="159667849" sldId="3343"/>
            <ac:cxnSpMk id="14" creationId="{AA2EAA10-076F-46BD-8F0F-B9A2FB77A85C}"/>
          </ac:cxnSpMkLst>
        </pc:cxnChg>
        <pc:cxnChg chg="add del">
          <ac:chgData name="Budny Dominik" userId="0339bbe9-1cf3-4358-a006-84654253c29c" providerId="ADAL" clId="{1ABB164F-CB5C-4382-9D42-5119846B90D3}" dt="2021-11-26T09:10:34.658" v="103" actId="26606"/>
          <ac:cxnSpMkLst>
            <pc:docMk/>
            <pc:sldMk cId="159667849" sldId="3343"/>
            <ac:cxnSpMk id="16" creationId="{D891E407-403B-4764-86C9-33A56D3BCAA3}"/>
          </ac:cxnSpMkLst>
        </pc:cxnChg>
      </pc:sldChg>
      <pc:sldChg chg="modSp new del mod">
        <pc:chgData name="Budny Dominik" userId="0339bbe9-1cf3-4358-a006-84654253c29c" providerId="ADAL" clId="{1ABB164F-CB5C-4382-9D42-5119846B90D3}" dt="2021-11-26T09:12:06.171" v="117" actId="680"/>
        <pc:sldMkLst>
          <pc:docMk/>
          <pc:sldMk cId="1706871616" sldId="3344"/>
        </pc:sldMkLst>
        <pc:spChg chg="mod">
          <ac:chgData name="Budny Dominik" userId="0339bbe9-1cf3-4358-a006-84654253c29c" providerId="ADAL" clId="{1ABB164F-CB5C-4382-9D42-5119846B90D3}" dt="2021-11-26T09:12:05.179" v="116"/>
          <ac:spMkLst>
            <pc:docMk/>
            <pc:sldMk cId="1706871616" sldId="3344"/>
            <ac:spMk id="2" creationId="{6A7ED486-874A-4391-917F-7DB08C8104DD}"/>
          </ac:spMkLst>
        </pc:spChg>
      </pc:sldChg>
      <pc:sldChg chg="addSp delSp modSp new mod setBg">
        <pc:chgData name="Budny Dominik" userId="0339bbe9-1cf3-4358-a006-84654253c29c" providerId="ADAL" clId="{1ABB164F-CB5C-4382-9D42-5119846B90D3}" dt="2021-11-26T09:16:55.918" v="139" actId="26606"/>
        <pc:sldMkLst>
          <pc:docMk/>
          <pc:sldMk cId="3939110887" sldId="3344"/>
        </pc:sldMkLst>
        <pc:spChg chg="del mod ord">
          <ac:chgData name="Budny Dominik" userId="0339bbe9-1cf3-4358-a006-84654253c29c" providerId="ADAL" clId="{1ABB164F-CB5C-4382-9D42-5119846B90D3}" dt="2021-11-26T09:16:52.843" v="138" actId="478"/>
          <ac:spMkLst>
            <pc:docMk/>
            <pc:sldMk cId="3939110887" sldId="3344"/>
            <ac:spMk id="2" creationId="{5D7F9DF3-4213-4663-98A4-6304A268D026}"/>
          </ac:spMkLst>
        </pc:spChg>
        <pc:spChg chg="del">
          <ac:chgData name="Budny Dominik" userId="0339bbe9-1cf3-4358-a006-84654253c29c" providerId="ADAL" clId="{1ABB164F-CB5C-4382-9D42-5119846B90D3}" dt="2021-11-26T09:16:43.625" v="137" actId="26606"/>
          <ac:spMkLst>
            <pc:docMk/>
            <pc:sldMk cId="3939110887" sldId="3344"/>
            <ac:spMk id="3" creationId="{CA41D7CE-5378-4678-8F85-B859745381AF}"/>
          </ac:spMkLst>
        </pc:spChg>
        <pc:spChg chg="del">
          <ac:chgData name="Budny Dominik" userId="0339bbe9-1cf3-4358-a006-84654253c29c" providerId="ADAL" clId="{1ABB164F-CB5C-4382-9D42-5119846B90D3}" dt="2021-11-26T09:16:43.625" v="137" actId="26606"/>
          <ac:spMkLst>
            <pc:docMk/>
            <pc:sldMk cId="3939110887" sldId="3344"/>
            <ac:spMk id="4" creationId="{3FEC4CB3-F491-473C-B1CD-AB8EB7135C7C}"/>
          </ac:spMkLst>
        </pc:spChg>
        <pc:spChg chg="del">
          <ac:chgData name="Budny Dominik" userId="0339bbe9-1cf3-4358-a006-84654253c29c" providerId="ADAL" clId="{1ABB164F-CB5C-4382-9D42-5119846B90D3}" dt="2021-11-26T09:16:35.076" v="134" actId="931"/>
          <ac:spMkLst>
            <pc:docMk/>
            <pc:sldMk cId="3939110887" sldId="3344"/>
            <ac:spMk id="5" creationId="{6038DBA4-A0F7-4B94-8DC9-A9FD052A98F4}"/>
          </ac:spMkLst>
        </pc:spChg>
        <pc:spChg chg="add del">
          <ac:chgData name="Budny Dominik" userId="0339bbe9-1cf3-4358-a006-84654253c29c" providerId="ADAL" clId="{1ABB164F-CB5C-4382-9D42-5119846B90D3}" dt="2021-11-26T09:16:55.918" v="139" actId="26606"/>
          <ac:spMkLst>
            <pc:docMk/>
            <pc:sldMk cId="3939110887" sldId="3344"/>
            <ac:spMk id="12" creationId="{37C89E4B-3C9F-44B9-8B86-D9E3D112D8EC}"/>
          </ac:spMkLst>
        </pc:spChg>
        <pc:spChg chg="add">
          <ac:chgData name="Budny Dominik" userId="0339bbe9-1cf3-4358-a006-84654253c29c" providerId="ADAL" clId="{1ABB164F-CB5C-4382-9D42-5119846B90D3}" dt="2021-11-26T09:16:55.918" v="139" actId="26606"/>
          <ac:spMkLst>
            <pc:docMk/>
            <pc:sldMk cId="3939110887" sldId="3344"/>
            <ac:spMk id="21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16:55.918" v="139" actId="26606"/>
          <ac:spMkLst>
            <pc:docMk/>
            <pc:sldMk cId="3939110887" sldId="3344"/>
            <ac:spMk id="23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16:55.918" v="139" actId="26606"/>
          <ac:spMkLst>
            <pc:docMk/>
            <pc:sldMk cId="3939110887" sldId="3344"/>
            <ac:spMk id="25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16:55.918" v="139" actId="26606"/>
          <ac:spMkLst>
            <pc:docMk/>
            <pc:sldMk cId="3939110887" sldId="3344"/>
            <ac:spMk id="27" creationId="{A8D57A06-A426-446D-B02C-A2DC6B62E45E}"/>
          </ac:spMkLst>
        </pc:spChg>
        <pc:picChg chg="add mod">
          <ac:chgData name="Budny Dominik" userId="0339bbe9-1cf3-4358-a006-84654253c29c" providerId="ADAL" clId="{1ABB164F-CB5C-4382-9D42-5119846B90D3}" dt="2021-11-26T09:16:55.918" v="139" actId="26606"/>
          <ac:picMkLst>
            <pc:docMk/>
            <pc:sldMk cId="3939110887" sldId="3344"/>
            <ac:picMk id="7" creationId="{F5B17C73-A451-47A0-9909-3A0F72640D29}"/>
          </ac:picMkLst>
        </pc:picChg>
        <pc:cxnChg chg="add del">
          <ac:chgData name="Budny Dominik" userId="0339bbe9-1cf3-4358-a006-84654253c29c" providerId="ADAL" clId="{1ABB164F-CB5C-4382-9D42-5119846B90D3}" dt="2021-11-26T09:16:55.918" v="139" actId="26606"/>
          <ac:cxnSpMkLst>
            <pc:docMk/>
            <pc:sldMk cId="3939110887" sldId="3344"/>
            <ac:cxnSpMk id="14" creationId="{AA2EAA10-076F-46BD-8F0F-B9A2FB77A85C}"/>
          </ac:cxnSpMkLst>
        </pc:cxnChg>
        <pc:cxnChg chg="add del">
          <ac:chgData name="Budny Dominik" userId="0339bbe9-1cf3-4358-a006-84654253c29c" providerId="ADAL" clId="{1ABB164F-CB5C-4382-9D42-5119846B90D3}" dt="2021-11-26T09:16:55.918" v="139" actId="26606"/>
          <ac:cxnSpMkLst>
            <pc:docMk/>
            <pc:sldMk cId="3939110887" sldId="3344"/>
            <ac:cxnSpMk id="16" creationId="{D891E407-403B-4764-86C9-33A56D3BCAA3}"/>
          </ac:cxnSpMkLst>
        </pc:cxnChg>
      </pc:sldChg>
      <pc:sldChg chg="modSp add mod ord">
        <pc:chgData name="Budny Dominik" userId="0339bbe9-1cf3-4358-a006-84654253c29c" providerId="ADAL" clId="{1ABB164F-CB5C-4382-9D42-5119846B90D3}" dt="2021-12-14T12:55:38.200" v="771" actId="20577"/>
        <pc:sldMkLst>
          <pc:docMk/>
          <pc:sldMk cId="3980868155" sldId="3345"/>
        </pc:sldMkLst>
        <pc:spChg chg="mod">
          <ac:chgData name="Budny Dominik" userId="0339bbe9-1cf3-4358-a006-84654253c29c" providerId="ADAL" clId="{1ABB164F-CB5C-4382-9D42-5119846B90D3}" dt="2021-11-26T09:33:24.897" v="178" actId="20577"/>
          <ac:spMkLst>
            <pc:docMk/>
            <pc:sldMk cId="3980868155" sldId="3345"/>
            <ac:spMk id="2" creationId="{180C66B3-1A93-440B-BEEA-EF0BC8C734F1}"/>
          </ac:spMkLst>
        </pc:spChg>
        <pc:spChg chg="mod">
          <ac:chgData name="Budny Dominik" userId="0339bbe9-1cf3-4358-a006-84654253c29c" providerId="ADAL" clId="{1ABB164F-CB5C-4382-9D42-5119846B90D3}" dt="2021-12-14T12:55:38.200" v="771" actId="20577"/>
          <ac:spMkLst>
            <pc:docMk/>
            <pc:sldMk cId="3980868155" sldId="3345"/>
            <ac:spMk id="5" creationId="{156923C2-E93A-457E-B1C2-2177A689F74B}"/>
          </ac:spMkLst>
        </pc:spChg>
        <pc:spChg chg="mod">
          <ac:chgData name="Budny Dominik" userId="0339bbe9-1cf3-4358-a006-84654253c29c" providerId="ADAL" clId="{1ABB164F-CB5C-4382-9D42-5119846B90D3}" dt="2021-11-26T09:33:17.172" v="159" actId="20577"/>
          <ac:spMkLst>
            <pc:docMk/>
            <pc:sldMk cId="3980868155" sldId="3345"/>
            <ac:spMk id="10" creationId="{87746DEE-0692-4052-A04D-EBC558347B9F}"/>
          </ac:spMkLst>
        </pc:spChg>
      </pc:sldChg>
      <pc:sldChg chg="modSp add mod">
        <pc:chgData name="Budny Dominik" userId="0339bbe9-1cf3-4358-a006-84654253c29c" providerId="ADAL" clId="{1ABB164F-CB5C-4382-9D42-5119846B90D3}" dt="2021-12-06T14:50:56.563" v="740" actId="20577"/>
        <pc:sldMkLst>
          <pc:docMk/>
          <pc:sldMk cId="1625500260" sldId="3346"/>
        </pc:sldMkLst>
        <pc:spChg chg="mod">
          <ac:chgData name="Budny Dominik" userId="0339bbe9-1cf3-4358-a006-84654253c29c" providerId="ADAL" clId="{1ABB164F-CB5C-4382-9D42-5119846B90D3}" dt="2021-11-26T09:41:37.323" v="272" actId="20577"/>
          <ac:spMkLst>
            <pc:docMk/>
            <pc:sldMk cId="1625500260" sldId="3346"/>
            <ac:spMk id="2" creationId="{180C66B3-1A93-440B-BEEA-EF0BC8C734F1}"/>
          </ac:spMkLst>
        </pc:spChg>
        <pc:spChg chg="mod">
          <ac:chgData name="Budny Dominik" userId="0339bbe9-1cf3-4358-a006-84654253c29c" providerId="ADAL" clId="{1ABB164F-CB5C-4382-9D42-5119846B90D3}" dt="2021-12-06T14:50:56.563" v="740" actId="20577"/>
          <ac:spMkLst>
            <pc:docMk/>
            <pc:sldMk cId="1625500260" sldId="3346"/>
            <ac:spMk id="5" creationId="{156923C2-E93A-457E-B1C2-2177A689F74B}"/>
          </ac:spMkLst>
        </pc:spChg>
        <pc:spChg chg="mod">
          <ac:chgData name="Budny Dominik" userId="0339bbe9-1cf3-4358-a006-84654253c29c" providerId="ADAL" clId="{1ABB164F-CB5C-4382-9D42-5119846B90D3}" dt="2021-11-26T09:41:10.300" v="253" actId="20577"/>
          <ac:spMkLst>
            <pc:docMk/>
            <pc:sldMk cId="1625500260" sldId="3346"/>
            <ac:spMk id="6" creationId="{835A7564-6B22-49A7-99C1-6E0F2D2DBBDF}"/>
          </ac:spMkLst>
        </pc:spChg>
      </pc:sldChg>
      <pc:sldChg chg="addSp delSp modSp new del mod setBg">
        <pc:chgData name="Budny Dominik" userId="0339bbe9-1cf3-4358-a006-84654253c29c" providerId="ADAL" clId="{1ABB164F-CB5C-4382-9D42-5119846B90D3}" dt="2021-12-10T13:34:55.277" v="741" actId="47"/>
        <pc:sldMkLst>
          <pc:docMk/>
          <pc:sldMk cId="26106556" sldId="3347"/>
        </pc:sldMkLst>
        <pc:spChg chg="del">
          <ac:chgData name="Budny Dominik" userId="0339bbe9-1cf3-4358-a006-84654253c29c" providerId="ADAL" clId="{1ABB164F-CB5C-4382-9D42-5119846B90D3}" dt="2021-11-26T09:56:26.179" v="433" actId="26606"/>
          <ac:spMkLst>
            <pc:docMk/>
            <pc:sldMk cId="26106556" sldId="3347"/>
            <ac:spMk id="2" creationId="{4DE90F88-ABD3-4B16-934D-A478E6495469}"/>
          </ac:spMkLst>
        </pc:spChg>
        <pc:spChg chg="del">
          <ac:chgData name="Budny Dominik" userId="0339bbe9-1cf3-4358-a006-84654253c29c" providerId="ADAL" clId="{1ABB164F-CB5C-4382-9D42-5119846B90D3}" dt="2021-11-26T09:56:26.179" v="433" actId="26606"/>
          <ac:spMkLst>
            <pc:docMk/>
            <pc:sldMk cId="26106556" sldId="3347"/>
            <ac:spMk id="3" creationId="{3BDFAE95-7D4E-4F1E-8DF2-A2EBCE5C2900}"/>
          </ac:spMkLst>
        </pc:spChg>
        <pc:spChg chg="del">
          <ac:chgData name="Budny Dominik" userId="0339bbe9-1cf3-4358-a006-84654253c29c" providerId="ADAL" clId="{1ABB164F-CB5C-4382-9D42-5119846B90D3}" dt="2021-11-26T09:56:26.179" v="433" actId="26606"/>
          <ac:spMkLst>
            <pc:docMk/>
            <pc:sldMk cId="26106556" sldId="3347"/>
            <ac:spMk id="4" creationId="{BB3F6F4B-0786-4880-BEEB-8C2D56AE2BD5}"/>
          </ac:spMkLst>
        </pc:spChg>
        <pc:spChg chg="del">
          <ac:chgData name="Budny Dominik" userId="0339bbe9-1cf3-4358-a006-84654253c29c" providerId="ADAL" clId="{1ABB164F-CB5C-4382-9D42-5119846B90D3}" dt="2021-11-26T09:56:22.014" v="430" actId="931"/>
          <ac:spMkLst>
            <pc:docMk/>
            <pc:sldMk cId="26106556" sldId="3347"/>
            <ac:spMk id="5" creationId="{3A00997B-92E5-461F-91E0-887A525639F9}"/>
          </ac:spMkLst>
        </pc:spChg>
        <pc:spChg chg="add">
          <ac:chgData name="Budny Dominik" userId="0339bbe9-1cf3-4358-a006-84654253c29c" providerId="ADAL" clId="{1ABB164F-CB5C-4382-9D42-5119846B90D3}" dt="2021-11-26T09:56:26.179" v="433" actId="26606"/>
          <ac:spMkLst>
            <pc:docMk/>
            <pc:sldMk cId="26106556" sldId="3347"/>
            <ac:spMk id="12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56:26.179" v="433" actId="26606"/>
          <ac:spMkLst>
            <pc:docMk/>
            <pc:sldMk cId="26106556" sldId="3347"/>
            <ac:spMk id="14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56:26.179" v="433" actId="26606"/>
          <ac:spMkLst>
            <pc:docMk/>
            <pc:sldMk cId="26106556" sldId="3347"/>
            <ac:spMk id="16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56:26.179" v="433" actId="26606"/>
          <ac:spMkLst>
            <pc:docMk/>
            <pc:sldMk cId="26106556" sldId="3347"/>
            <ac:spMk id="18" creationId="{A8D57A06-A426-446D-B02C-A2DC6B62E45E}"/>
          </ac:spMkLst>
        </pc:spChg>
        <pc:picChg chg="add mod">
          <ac:chgData name="Budny Dominik" userId="0339bbe9-1cf3-4358-a006-84654253c29c" providerId="ADAL" clId="{1ABB164F-CB5C-4382-9D42-5119846B90D3}" dt="2021-11-26T09:56:26.179" v="433" actId="26606"/>
          <ac:picMkLst>
            <pc:docMk/>
            <pc:sldMk cId="26106556" sldId="3347"/>
            <ac:picMk id="7" creationId="{67B99B51-99FE-4EC5-ACC7-D19F421F44DE}"/>
          </ac:picMkLst>
        </pc:picChg>
      </pc:sldChg>
      <pc:sldChg chg="addSp delSp modSp new mod setBg">
        <pc:chgData name="Budny Dominik" userId="0339bbe9-1cf3-4358-a006-84654253c29c" providerId="ADAL" clId="{1ABB164F-CB5C-4382-9D42-5119846B90D3}" dt="2021-11-26T09:56:47.647" v="438" actId="26606"/>
        <pc:sldMkLst>
          <pc:docMk/>
          <pc:sldMk cId="475805513" sldId="3348"/>
        </pc:sldMkLst>
        <pc:spChg chg="del">
          <ac:chgData name="Budny Dominik" userId="0339bbe9-1cf3-4358-a006-84654253c29c" providerId="ADAL" clId="{1ABB164F-CB5C-4382-9D42-5119846B90D3}" dt="2021-11-26T09:56:47.647" v="438" actId="26606"/>
          <ac:spMkLst>
            <pc:docMk/>
            <pc:sldMk cId="475805513" sldId="3348"/>
            <ac:spMk id="2" creationId="{64077A05-87DC-4CDF-B652-0ADE64EC982F}"/>
          </ac:spMkLst>
        </pc:spChg>
        <pc:spChg chg="del">
          <ac:chgData name="Budny Dominik" userId="0339bbe9-1cf3-4358-a006-84654253c29c" providerId="ADAL" clId="{1ABB164F-CB5C-4382-9D42-5119846B90D3}" dt="2021-11-26T09:56:47.647" v="438" actId="26606"/>
          <ac:spMkLst>
            <pc:docMk/>
            <pc:sldMk cId="475805513" sldId="3348"/>
            <ac:spMk id="3" creationId="{3DF55D04-8E68-4337-A98B-58CE0DCC47C0}"/>
          </ac:spMkLst>
        </pc:spChg>
        <pc:spChg chg="del">
          <ac:chgData name="Budny Dominik" userId="0339bbe9-1cf3-4358-a006-84654253c29c" providerId="ADAL" clId="{1ABB164F-CB5C-4382-9D42-5119846B90D3}" dt="2021-11-26T09:56:47.647" v="438" actId="26606"/>
          <ac:spMkLst>
            <pc:docMk/>
            <pc:sldMk cId="475805513" sldId="3348"/>
            <ac:spMk id="4" creationId="{721B4E75-117A-4C00-95DD-21ABFE5889B3}"/>
          </ac:spMkLst>
        </pc:spChg>
        <pc:spChg chg="del">
          <ac:chgData name="Budny Dominik" userId="0339bbe9-1cf3-4358-a006-84654253c29c" providerId="ADAL" clId="{1ABB164F-CB5C-4382-9D42-5119846B90D3}" dt="2021-11-26T09:56:39.617" v="435" actId="931"/>
          <ac:spMkLst>
            <pc:docMk/>
            <pc:sldMk cId="475805513" sldId="3348"/>
            <ac:spMk id="5" creationId="{28742A8B-AD04-4FDA-BE4E-C887FBFEC5F2}"/>
          </ac:spMkLst>
        </pc:spChg>
        <pc:spChg chg="add">
          <ac:chgData name="Budny Dominik" userId="0339bbe9-1cf3-4358-a006-84654253c29c" providerId="ADAL" clId="{1ABB164F-CB5C-4382-9D42-5119846B90D3}" dt="2021-11-26T09:56:47.647" v="438" actId="26606"/>
          <ac:spMkLst>
            <pc:docMk/>
            <pc:sldMk cId="475805513" sldId="3348"/>
            <ac:spMk id="12" creationId="{AB8C311F-7253-4AED-9701-7FC0708C41C7}"/>
          </ac:spMkLst>
        </pc:spChg>
        <pc:spChg chg="add">
          <ac:chgData name="Budny Dominik" userId="0339bbe9-1cf3-4358-a006-84654253c29c" providerId="ADAL" clId="{1ABB164F-CB5C-4382-9D42-5119846B90D3}" dt="2021-11-26T09:56:47.647" v="438" actId="26606"/>
          <ac:spMkLst>
            <pc:docMk/>
            <pc:sldMk cId="475805513" sldId="3348"/>
            <ac:spMk id="14" creationId="{E2384209-CB15-4CDF-9D31-C44FD9A3F20D}"/>
          </ac:spMkLst>
        </pc:spChg>
        <pc:spChg chg="add">
          <ac:chgData name="Budny Dominik" userId="0339bbe9-1cf3-4358-a006-84654253c29c" providerId="ADAL" clId="{1ABB164F-CB5C-4382-9D42-5119846B90D3}" dt="2021-11-26T09:56:47.647" v="438" actId="26606"/>
          <ac:spMkLst>
            <pc:docMk/>
            <pc:sldMk cId="475805513" sldId="3348"/>
            <ac:spMk id="16" creationId="{2633B3B5-CC90-43F0-8714-D31D1F3F0209}"/>
          </ac:spMkLst>
        </pc:spChg>
        <pc:spChg chg="add">
          <ac:chgData name="Budny Dominik" userId="0339bbe9-1cf3-4358-a006-84654253c29c" providerId="ADAL" clId="{1ABB164F-CB5C-4382-9D42-5119846B90D3}" dt="2021-11-26T09:56:47.647" v="438" actId="26606"/>
          <ac:spMkLst>
            <pc:docMk/>
            <pc:sldMk cId="475805513" sldId="3348"/>
            <ac:spMk id="18" creationId="{A8D57A06-A426-446D-B02C-A2DC6B62E45E}"/>
          </ac:spMkLst>
        </pc:spChg>
        <pc:picChg chg="add mod">
          <ac:chgData name="Budny Dominik" userId="0339bbe9-1cf3-4358-a006-84654253c29c" providerId="ADAL" clId="{1ABB164F-CB5C-4382-9D42-5119846B90D3}" dt="2021-11-26T09:56:47.647" v="438" actId="26606"/>
          <ac:picMkLst>
            <pc:docMk/>
            <pc:sldMk cId="475805513" sldId="3348"/>
            <ac:picMk id="7" creationId="{BB80175E-F10C-4C89-8C86-FBA9B12BECD2}"/>
          </ac:picMkLst>
        </pc:picChg>
      </pc:sldChg>
      <pc:sldChg chg="addSp delSp modSp new mod setBg setClrOvrMap">
        <pc:chgData name="Budny Dominik" userId="0339bbe9-1cf3-4358-a006-84654253c29c" providerId="ADAL" clId="{1ABB164F-CB5C-4382-9D42-5119846B90D3}" dt="2021-11-26T10:13:11.056" v="593" actId="478"/>
        <pc:sldMkLst>
          <pc:docMk/>
          <pc:sldMk cId="3807692459" sldId="3349"/>
        </pc:sldMkLst>
        <pc:spChg chg="add del">
          <ac:chgData name="Budny Dominik" userId="0339bbe9-1cf3-4358-a006-84654253c29c" providerId="ADAL" clId="{1ABB164F-CB5C-4382-9D42-5119846B90D3}" dt="2021-11-26T10:13:00.413" v="589" actId="478"/>
          <ac:spMkLst>
            <pc:docMk/>
            <pc:sldMk cId="3807692459" sldId="3349"/>
            <ac:spMk id="2" creationId="{A30B7C25-2ACA-4464-AD8C-C996EB3C64AC}"/>
          </ac:spMkLst>
        </pc:spChg>
        <pc:spChg chg="add del">
          <ac:chgData name="Budny Dominik" userId="0339bbe9-1cf3-4358-a006-84654253c29c" providerId="ADAL" clId="{1ABB164F-CB5C-4382-9D42-5119846B90D3}" dt="2021-11-26T10:13:01.867" v="590" actId="478"/>
          <ac:spMkLst>
            <pc:docMk/>
            <pc:sldMk cId="3807692459" sldId="3349"/>
            <ac:spMk id="3" creationId="{FECFE65D-6440-4339-BBF3-DC614EE8F396}"/>
          </ac:spMkLst>
        </pc:spChg>
        <pc:spChg chg="add del">
          <ac:chgData name="Budny Dominik" userId="0339bbe9-1cf3-4358-a006-84654253c29c" providerId="ADAL" clId="{1ABB164F-CB5C-4382-9D42-5119846B90D3}" dt="2021-11-26T10:13:11.056" v="593" actId="478"/>
          <ac:spMkLst>
            <pc:docMk/>
            <pc:sldMk cId="3807692459" sldId="3349"/>
            <ac:spMk id="4" creationId="{BFB97A80-C896-4D77-8500-BFFB8E95B88F}"/>
          </ac:spMkLst>
        </pc:spChg>
        <pc:spChg chg="del">
          <ac:chgData name="Budny Dominik" userId="0339bbe9-1cf3-4358-a006-84654253c29c" providerId="ADAL" clId="{1ABB164F-CB5C-4382-9D42-5119846B90D3}" dt="2021-11-26T10:12:30.692" v="578" actId="931"/>
          <ac:spMkLst>
            <pc:docMk/>
            <pc:sldMk cId="3807692459" sldId="3349"/>
            <ac:spMk id="5" creationId="{97B03909-127E-43FD-8229-E77271797C13}"/>
          </ac:spMkLst>
        </pc:spChg>
        <pc:spChg chg="add del">
          <ac:chgData name="Budny Dominik" userId="0339bbe9-1cf3-4358-a006-84654253c29c" providerId="ADAL" clId="{1ABB164F-CB5C-4382-9D42-5119846B90D3}" dt="2021-11-26T10:12:43.473" v="582" actId="26606"/>
          <ac:spMkLst>
            <pc:docMk/>
            <pc:sldMk cId="3807692459" sldId="3349"/>
            <ac:spMk id="12" creationId="{C3896A03-3945-419A-B66B-4EE266EDD152}"/>
          </ac:spMkLst>
        </pc:spChg>
        <pc:spChg chg="add del">
          <ac:chgData name="Budny Dominik" userId="0339bbe9-1cf3-4358-a006-84654253c29c" providerId="ADAL" clId="{1ABB164F-CB5C-4382-9D42-5119846B90D3}" dt="2021-11-26T10:12:44.513" v="584" actId="26606"/>
          <ac:spMkLst>
            <pc:docMk/>
            <pc:sldMk cId="3807692459" sldId="3349"/>
            <ac:spMk id="14" creationId="{A30B7C25-2ACA-4464-AD8C-C996EB3C64AC}"/>
          </ac:spMkLst>
        </pc:spChg>
        <pc:spChg chg="add del">
          <ac:chgData name="Budny Dominik" userId="0339bbe9-1cf3-4358-a006-84654253c29c" providerId="ADAL" clId="{1ABB164F-CB5C-4382-9D42-5119846B90D3}" dt="2021-11-26T10:12:44.513" v="584" actId="26606"/>
          <ac:spMkLst>
            <pc:docMk/>
            <pc:sldMk cId="3807692459" sldId="3349"/>
            <ac:spMk id="15" creationId="{BCC55ACC-A2F6-403C-A3A4-D59B3734D45F}"/>
          </ac:spMkLst>
        </pc:spChg>
        <pc:spChg chg="add del">
          <ac:chgData name="Budny Dominik" userId="0339bbe9-1cf3-4358-a006-84654253c29c" providerId="ADAL" clId="{1ABB164F-CB5C-4382-9D42-5119846B90D3}" dt="2021-11-26T10:12:56.161" v="588" actId="26606"/>
          <ac:spMkLst>
            <pc:docMk/>
            <pc:sldMk cId="3807692459" sldId="3349"/>
            <ac:spMk id="17" creationId="{C3896A03-3945-419A-B66B-4EE266EDD152}"/>
          </ac:spMkLst>
        </pc:spChg>
        <pc:picChg chg="add mod">
          <ac:chgData name="Budny Dominik" userId="0339bbe9-1cf3-4358-a006-84654253c29c" providerId="ADAL" clId="{1ABB164F-CB5C-4382-9D42-5119846B90D3}" dt="2021-11-26T10:13:08.155" v="592" actId="14100"/>
          <ac:picMkLst>
            <pc:docMk/>
            <pc:sldMk cId="3807692459" sldId="3349"/>
            <ac:picMk id="7" creationId="{C873753D-EE00-4AA4-A07A-8DFA828EF05F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5B775B4-82D5-F745-B069-44CDF0AA382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E649DCE-855E-E841-98E5-66892EBE95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3A7BF7-D744-D942-86F9-5DB8065DC649}" type="datetimeFigureOut">
              <a:rPr lang="en-FI" smtClean="0"/>
              <a:t>12/14/2021</a:t>
            </a:fld>
            <a:endParaRPr lang="en-FI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8A7D86-3360-E84C-A57C-F1B56DFB7F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FI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6A2C50-0A1F-A443-A202-2B9AD53327E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AC0D9E-808F-9B4C-BDCB-F0F0D1F3E0D2}" type="slidenum">
              <a:rPr lang="en-FI" smtClean="0"/>
              <a:t>‹#›</a:t>
            </a:fld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00680544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FI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hf sldNum="0" hdr="0" ftr="0" dt="0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9" name="Google Shape;239;p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0" name="Google Shape;24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72" name="Google Shape;372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page, green">
  <p:cSld name="Coverpage, green">
    <p:bg>
      <p:bgPr>
        <a:solidFill>
          <a:srgbClr val="2D9359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oogle Shape;16;p22" descr="A picture containing drawing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971800" y="2451100"/>
            <a:ext cx="6248400" cy="1041400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Google Shape;17;p22"/>
          <p:cNvSpPr txBox="1">
            <a:spLocks noGrp="1"/>
          </p:cNvSpPr>
          <p:nvPr>
            <p:ph type="ctrTitle"/>
          </p:nvPr>
        </p:nvSpPr>
        <p:spPr>
          <a:xfrm>
            <a:off x="561474" y="3492500"/>
            <a:ext cx="11069053" cy="1046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rebuchet MS"/>
              <a:buNone/>
              <a:defRPr sz="36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slide and place for photo" userDrawn="1">
  <p:cSld name="Text slide and place for photo">
    <p:spTree>
      <p:nvGrpSpPr>
        <p:cNvPr id="1" name="Shape 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" name="Google Shape;187;p49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79200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9359"/>
              </a:buClr>
              <a:buSzPts val="3200"/>
              <a:buFont typeface="Trebuchet MS"/>
              <a:buNone/>
              <a:defRPr sz="3200">
                <a:solidFill>
                  <a:srgbClr val="2D935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" name="Google Shape;188;p49"/>
          <p:cNvSpPr>
            <a:spLocks noGrp="1"/>
          </p:cNvSpPr>
          <p:nvPr>
            <p:ph type="pic" idx="2"/>
          </p:nvPr>
        </p:nvSpPr>
        <p:spPr>
          <a:xfrm>
            <a:off x="9672000" y="0"/>
            <a:ext cx="2520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190" name="Google Shape;190;p49"/>
          <p:cNvSpPr>
            <a:spLocks noGrp="1"/>
          </p:cNvSpPr>
          <p:nvPr>
            <p:ph type="pic" idx="3"/>
          </p:nvPr>
        </p:nvSpPr>
        <p:spPr>
          <a:xfrm>
            <a:off x="10157011" y="6142354"/>
            <a:ext cx="1579342" cy="263223"/>
          </a:xfrm>
          <a:prstGeom prst="rect">
            <a:avLst/>
          </a:prstGeom>
          <a:blipFill rotWithShape="1">
            <a:blip r:embed="rId2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1400"/>
              <a:buFont typeface="Arial"/>
              <a:buNone/>
              <a:defRPr sz="1400" b="0" i="0" u="none" strike="noStrike" cap="none">
                <a:noFill/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C8404729-B07E-D14A-8DE4-C8E4BB33BF22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9789" y="2073856"/>
            <a:ext cx="7920000" cy="4326944"/>
          </a:xfrm>
        </p:spPr>
        <p:txBody>
          <a:bodyPr/>
          <a:lstStyle>
            <a:lvl1pPr marL="266400" indent="-266400"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slide and green" userDrawn="1">
  <p:cSld name="Text slide and green">
    <p:spTree>
      <p:nvGrpSpPr>
        <p:cNvPr id="1" name="Shape 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Google Shape;100;p36"/>
          <p:cNvSpPr/>
          <p:nvPr/>
        </p:nvSpPr>
        <p:spPr>
          <a:xfrm>
            <a:off x="9672000" y="0"/>
            <a:ext cx="2520000" cy="6858000"/>
          </a:xfrm>
          <a:prstGeom prst="rect">
            <a:avLst/>
          </a:prstGeom>
          <a:solidFill>
            <a:srgbClr val="2D935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rgbClr val="2D9359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01" name="Google Shape;101;p36"/>
          <p:cNvSpPr txBox="1">
            <a:spLocks noGrp="1"/>
          </p:cNvSpPr>
          <p:nvPr>
            <p:ph type="title"/>
          </p:nvPr>
        </p:nvSpPr>
        <p:spPr>
          <a:xfrm>
            <a:off x="838800" y="457200"/>
            <a:ext cx="79200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9359"/>
              </a:buClr>
              <a:buSzPts val="3200"/>
              <a:buFont typeface="Trebuchet MS"/>
              <a:buNone/>
              <a:defRPr sz="3200">
                <a:solidFill>
                  <a:srgbClr val="2D935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" name="Google Shape;103;p36"/>
          <p:cNvSpPr txBox="1">
            <a:spLocks noGrp="1"/>
          </p:cNvSpPr>
          <p:nvPr>
            <p:ph type="body" idx="2"/>
          </p:nvPr>
        </p:nvSpPr>
        <p:spPr>
          <a:xfrm>
            <a:off x="10030800" y="2519363"/>
            <a:ext cx="1799999" cy="36118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lvl="0" indent="-22860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 dirty="0"/>
          </a:p>
        </p:txBody>
      </p:sp>
      <p:pic>
        <p:nvPicPr>
          <p:cNvPr id="104" name="Google Shape;104;p36" descr="A picture containing drawing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42330" y="6137577"/>
            <a:ext cx="1579341" cy="263223"/>
          </a:xfrm>
          <a:prstGeom prst="rect">
            <a:avLst/>
          </a:prstGeom>
          <a:noFill/>
          <a:ln>
            <a:noFill/>
          </a:ln>
        </p:spPr>
      </p:pic>
      <p:sp>
        <p:nvSpPr>
          <p:cNvPr id="105" name="Google Shape;105;p36"/>
          <p:cNvSpPr>
            <a:spLocks noGrp="1"/>
          </p:cNvSpPr>
          <p:nvPr>
            <p:ph type="pic" idx="3"/>
          </p:nvPr>
        </p:nvSpPr>
        <p:spPr>
          <a:xfrm>
            <a:off x="10030800" y="457200"/>
            <a:ext cx="1800000" cy="18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None/>
              <a:defRPr sz="1600" b="0" i="0" u="none" strike="noStrike" cap="none"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8F690745-BDD5-A64F-88AF-6AA6B1ECA357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9789" y="2073856"/>
            <a:ext cx="7920000" cy="4326944"/>
          </a:xfrm>
        </p:spPr>
        <p:txBody>
          <a:bodyPr/>
          <a:lstStyle>
            <a:lvl1pPr marL="266400" indent="-266400"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defRPr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defRPr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 you slide">
  <p:cSld name="Thank you slide">
    <p:bg>
      <p:bgPr>
        <a:solidFill>
          <a:srgbClr val="2D9359"/>
        </a:solidFill>
        <a:effectLst/>
      </p:bgPr>
    </p:bg>
    <p:spTree>
      <p:nvGrpSpPr>
        <p:cNvPr id="1" name="Shape 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Google Shape;114;p38"/>
          <p:cNvSpPr txBox="1">
            <a:spLocks noGrp="1"/>
          </p:cNvSpPr>
          <p:nvPr>
            <p:ph type="ctrTitle"/>
          </p:nvPr>
        </p:nvSpPr>
        <p:spPr>
          <a:xfrm>
            <a:off x="838800" y="1535195"/>
            <a:ext cx="10473634" cy="752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Trebuchet MS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38"/>
          <p:cNvSpPr txBox="1">
            <a:spLocks noGrp="1"/>
          </p:cNvSpPr>
          <p:nvPr>
            <p:ph type="subTitle" idx="1"/>
          </p:nvPr>
        </p:nvSpPr>
        <p:spPr>
          <a:xfrm>
            <a:off x="838800" y="2457819"/>
            <a:ext cx="10473634" cy="432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0"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 dirty="0"/>
          </a:p>
        </p:txBody>
      </p:sp>
      <p:sp>
        <p:nvSpPr>
          <p:cNvPr id="116" name="Google Shape;116;p38"/>
          <p:cNvSpPr txBox="1">
            <a:spLocks noGrp="1"/>
          </p:cNvSpPr>
          <p:nvPr>
            <p:ph type="body" idx="2"/>
          </p:nvPr>
        </p:nvSpPr>
        <p:spPr>
          <a:xfrm>
            <a:off x="838800" y="2958047"/>
            <a:ext cx="10473634" cy="1798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 dirty="0"/>
          </a:p>
        </p:txBody>
      </p:sp>
      <p:sp>
        <p:nvSpPr>
          <p:cNvPr id="117" name="Google Shape;117;p38"/>
          <p:cNvSpPr txBox="1">
            <a:spLocks noGrp="1"/>
          </p:cNvSpPr>
          <p:nvPr>
            <p:ph type="body" idx="3"/>
          </p:nvPr>
        </p:nvSpPr>
        <p:spPr>
          <a:xfrm>
            <a:off x="838800" y="4756417"/>
            <a:ext cx="10473634" cy="863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lvl="0" indent="-22860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  <a:defRPr sz="2000" b="0">
                <a:solidFill>
                  <a:schemeClr val="lt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 dirty="0"/>
          </a:p>
        </p:txBody>
      </p:sp>
      <p:pic>
        <p:nvPicPr>
          <p:cNvPr id="118" name="Google Shape;118;p38" descr="A picture containing drawing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42330" y="6137577"/>
            <a:ext cx="1579341" cy="2632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page, place for photo" preserve="1" userDrawn="1">
  <p:cSld name="Coverpage, place for photo (stable logo)">
    <p:spTree>
      <p:nvGrpSpPr>
        <p:cNvPr id="1" name="Shape 1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789AD1D8-3FC0-7349-B68B-4FC88FFD9D6B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1" y="1"/>
            <a:ext cx="12191999" cy="6857999"/>
          </a:xfrm>
          <a:custGeom>
            <a:avLst/>
            <a:gdLst>
              <a:gd name="connsiteX0" fmla="*/ 7546859 w 12191999"/>
              <a:gd name="connsiteY0" fmla="*/ 4099622 h 6857999"/>
              <a:gd name="connsiteX1" fmla="*/ 7632044 w 12191999"/>
              <a:gd name="connsiteY1" fmla="*/ 4103021 h 6857999"/>
              <a:gd name="connsiteX2" fmla="*/ 7632044 w 12191999"/>
              <a:gd name="connsiteY2" fmla="*/ 4253805 h 6857999"/>
              <a:gd name="connsiteX3" fmla="*/ 7632215 w 12191999"/>
              <a:gd name="connsiteY3" fmla="*/ 4253805 h 6857999"/>
              <a:gd name="connsiteX4" fmla="*/ 7513192 w 12191999"/>
              <a:gd name="connsiteY4" fmla="*/ 4299873 h 6857999"/>
              <a:gd name="connsiteX5" fmla="*/ 7412704 w 12191999"/>
              <a:gd name="connsiteY5" fmla="*/ 4206718 h 6857999"/>
              <a:gd name="connsiteX6" fmla="*/ 7546859 w 12191999"/>
              <a:gd name="connsiteY6" fmla="*/ 4099622 h 6857999"/>
              <a:gd name="connsiteX7" fmla="*/ 4431872 w 12191999"/>
              <a:gd name="connsiteY7" fmla="*/ 3817944 h 6857999"/>
              <a:gd name="connsiteX8" fmla="*/ 4567899 w 12191999"/>
              <a:gd name="connsiteY8" fmla="*/ 4058653 h 6857999"/>
              <a:gd name="connsiteX9" fmla="*/ 4431872 w 12191999"/>
              <a:gd name="connsiteY9" fmla="*/ 4298003 h 6857999"/>
              <a:gd name="connsiteX10" fmla="*/ 4295847 w 12191999"/>
              <a:gd name="connsiteY10" fmla="*/ 4058653 h 6857999"/>
              <a:gd name="connsiteX11" fmla="*/ 4431872 w 12191999"/>
              <a:gd name="connsiteY11" fmla="*/ 3817944 h 6857999"/>
              <a:gd name="connsiteX12" fmla="*/ 5867113 w 12191999"/>
              <a:gd name="connsiteY12" fmla="*/ 3816414 h 6857999"/>
              <a:gd name="connsiteX13" fmla="*/ 5957909 w 12191999"/>
              <a:gd name="connsiteY13" fmla="*/ 3838003 h 6857999"/>
              <a:gd name="connsiteX14" fmla="*/ 5957909 w 12191999"/>
              <a:gd name="connsiteY14" fmla="*/ 4246156 h 6857999"/>
              <a:gd name="connsiteX15" fmla="*/ 5957740 w 12191999"/>
              <a:gd name="connsiteY15" fmla="*/ 4246156 h 6857999"/>
              <a:gd name="connsiteX16" fmla="*/ 5848068 w 12191999"/>
              <a:gd name="connsiteY16" fmla="*/ 4291884 h 6857999"/>
              <a:gd name="connsiteX17" fmla="*/ 5714423 w 12191999"/>
              <a:gd name="connsiteY17" fmla="*/ 4074802 h 6857999"/>
              <a:gd name="connsiteX18" fmla="*/ 5867113 w 12191999"/>
              <a:gd name="connsiteY18" fmla="*/ 3816414 h 6857999"/>
              <a:gd name="connsiteX19" fmla="*/ 5383712 w 12191999"/>
              <a:gd name="connsiteY19" fmla="*/ 3650160 h 6857999"/>
              <a:gd name="connsiteX20" fmla="*/ 5180353 w 12191999"/>
              <a:gd name="connsiteY20" fmla="*/ 3772555 h 6857999"/>
              <a:gd name="connsiteX21" fmla="*/ 5177634 w 12191999"/>
              <a:gd name="connsiteY21" fmla="*/ 3772555 h 6857999"/>
              <a:gd name="connsiteX22" fmla="*/ 5177634 w 12191999"/>
              <a:gd name="connsiteY22" fmla="*/ 3659340 h 6857999"/>
              <a:gd name="connsiteX23" fmla="*/ 4869195 w 12191999"/>
              <a:gd name="connsiteY23" fmla="*/ 3658999 h 6857999"/>
              <a:gd name="connsiteX24" fmla="*/ 4921904 w 12191999"/>
              <a:gd name="connsiteY24" fmla="*/ 3732096 h 6857999"/>
              <a:gd name="connsiteX25" fmla="*/ 4921904 w 12191999"/>
              <a:gd name="connsiteY25" fmla="*/ 4456605 h 6857999"/>
              <a:gd name="connsiteX26" fmla="*/ 5177634 w 12191999"/>
              <a:gd name="connsiteY26" fmla="*/ 4456605 h 6857999"/>
              <a:gd name="connsiteX27" fmla="*/ 5177634 w 12191999"/>
              <a:gd name="connsiteY27" fmla="*/ 3954108 h 6857999"/>
              <a:gd name="connsiteX28" fmla="*/ 5349705 w 12191999"/>
              <a:gd name="connsiteY28" fmla="*/ 3865540 h 6857999"/>
              <a:gd name="connsiteX29" fmla="*/ 5432001 w 12191999"/>
              <a:gd name="connsiteY29" fmla="*/ 3877440 h 6857999"/>
              <a:gd name="connsiteX30" fmla="*/ 5432001 w 12191999"/>
              <a:gd name="connsiteY30" fmla="*/ 3653900 h 6857999"/>
              <a:gd name="connsiteX31" fmla="*/ 5383712 w 12191999"/>
              <a:gd name="connsiteY31" fmla="*/ 3650160 h 6857999"/>
              <a:gd name="connsiteX32" fmla="*/ 7553829 w 12191999"/>
              <a:gd name="connsiteY32" fmla="*/ 3640811 h 6857999"/>
              <a:gd name="connsiteX33" fmla="*/ 7198973 w 12191999"/>
              <a:gd name="connsiteY33" fmla="*/ 3896480 h 6857999"/>
              <a:gd name="connsiteX34" fmla="*/ 7432427 w 12191999"/>
              <a:gd name="connsiteY34" fmla="*/ 3896480 h 6857999"/>
              <a:gd name="connsiteX35" fmla="*/ 7531046 w 12191999"/>
              <a:gd name="connsiteY35" fmla="*/ 3807404 h 6857999"/>
              <a:gd name="connsiteX36" fmla="*/ 7632385 w 12191999"/>
              <a:gd name="connsiteY36" fmla="*/ 3908380 h 6857999"/>
              <a:gd name="connsiteX37" fmla="*/ 7632385 w 12191999"/>
              <a:gd name="connsiteY37" fmla="*/ 3954278 h 6857999"/>
              <a:gd name="connsiteX38" fmla="*/ 7535806 w 12191999"/>
              <a:gd name="connsiteY38" fmla="*/ 3949008 h 6857999"/>
              <a:gd name="connsiteX39" fmla="*/ 7167177 w 12191999"/>
              <a:gd name="connsiteY39" fmla="*/ 4230857 h 6857999"/>
              <a:gd name="connsiteX40" fmla="*/ 7412364 w 12191999"/>
              <a:gd name="connsiteY40" fmla="*/ 4473436 h 6857999"/>
              <a:gd name="connsiteX41" fmla="*/ 7632215 w 12191999"/>
              <a:gd name="connsiteY41" fmla="*/ 4387590 h 6857999"/>
              <a:gd name="connsiteX42" fmla="*/ 7636296 w 12191999"/>
              <a:gd name="connsiteY42" fmla="*/ 4387590 h 6857999"/>
              <a:gd name="connsiteX43" fmla="*/ 7641737 w 12191999"/>
              <a:gd name="connsiteY43" fmla="*/ 4456777 h 6857999"/>
              <a:gd name="connsiteX44" fmla="*/ 7929261 w 12191999"/>
              <a:gd name="connsiteY44" fmla="*/ 4456777 h 6857999"/>
              <a:gd name="connsiteX45" fmla="*/ 7883692 w 12191999"/>
              <a:gd name="connsiteY45" fmla="*/ 4385550 h 6857999"/>
              <a:gd name="connsiteX46" fmla="*/ 7883862 w 12191999"/>
              <a:gd name="connsiteY46" fmla="*/ 3929629 h 6857999"/>
              <a:gd name="connsiteX47" fmla="*/ 7553829 w 12191999"/>
              <a:gd name="connsiteY47" fmla="*/ 3640811 h 6857999"/>
              <a:gd name="connsiteX48" fmla="*/ 4431872 w 12191999"/>
              <a:gd name="connsiteY48" fmla="*/ 3640811 h 6857999"/>
              <a:gd name="connsiteX49" fmla="*/ 4034848 w 12191999"/>
              <a:gd name="connsiteY49" fmla="*/ 4058653 h 6857999"/>
              <a:gd name="connsiteX50" fmla="*/ 4431872 w 12191999"/>
              <a:gd name="connsiteY50" fmla="*/ 4475135 h 6857999"/>
              <a:gd name="connsiteX51" fmla="*/ 4828897 w 12191999"/>
              <a:gd name="connsiteY51" fmla="*/ 4058653 h 6857999"/>
              <a:gd name="connsiteX52" fmla="*/ 4431872 w 12191999"/>
              <a:gd name="connsiteY52" fmla="*/ 3640811 h 6857999"/>
              <a:gd name="connsiteX53" fmla="*/ 2971807 w 12191999"/>
              <a:gd name="connsiteY53" fmla="*/ 3436309 h 6857999"/>
              <a:gd name="connsiteX54" fmla="*/ 3041350 w 12191999"/>
              <a:gd name="connsiteY54" fmla="*/ 3527086 h 6857999"/>
              <a:gd name="connsiteX55" fmla="*/ 3041350 w 12191999"/>
              <a:gd name="connsiteY55" fmla="*/ 4457795 h 6857999"/>
              <a:gd name="connsiteX56" fmla="*/ 3287387 w 12191999"/>
              <a:gd name="connsiteY56" fmla="*/ 4457795 h 6857999"/>
              <a:gd name="connsiteX57" fmla="*/ 3286877 w 12191999"/>
              <a:gd name="connsiteY57" fmla="*/ 3866731 h 6857999"/>
              <a:gd name="connsiteX58" fmla="*/ 3742902 w 12191999"/>
              <a:gd name="connsiteY58" fmla="*/ 4457455 h 6857999"/>
              <a:gd name="connsiteX59" fmla="*/ 3942520 w 12191999"/>
              <a:gd name="connsiteY59" fmla="*/ 4457626 h 6857999"/>
              <a:gd name="connsiteX60" fmla="*/ 3942520 w 12191999"/>
              <a:gd name="connsiteY60" fmla="*/ 3436479 h 6857999"/>
              <a:gd name="connsiteX61" fmla="*/ 3694273 w 12191999"/>
              <a:gd name="connsiteY61" fmla="*/ 3436479 h 6857999"/>
              <a:gd name="connsiteX62" fmla="*/ 3694443 w 12191999"/>
              <a:gd name="connsiteY62" fmla="*/ 4016494 h 6857999"/>
              <a:gd name="connsiteX63" fmla="*/ 3265112 w 12191999"/>
              <a:gd name="connsiteY63" fmla="*/ 3436479 h 6857999"/>
              <a:gd name="connsiteX64" fmla="*/ 8406031 w 12191999"/>
              <a:gd name="connsiteY64" fmla="*/ 3429000 h 6857999"/>
              <a:gd name="connsiteX65" fmla="*/ 8457550 w 12191999"/>
              <a:gd name="connsiteY65" fmla="*/ 3501247 h 6857999"/>
              <a:gd name="connsiteX66" fmla="*/ 8457550 w 12191999"/>
              <a:gd name="connsiteY66" fmla="*/ 4456606 h 6857999"/>
              <a:gd name="connsiteX67" fmla="*/ 8713279 w 12191999"/>
              <a:gd name="connsiteY67" fmla="*/ 4456606 h 6857999"/>
              <a:gd name="connsiteX68" fmla="*/ 8713279 w 12191999"/>
              <a:gd name="connsiteY68" fmla="*/ 4066472 h 6857999"/>
              <a:gd name="connsiteX69" fmla="*/ 8715999 w 12191999"/>
              <a:gd name="connsiteY69" fmla="*/ 4066472 h 6857999"/>
              <a:gd name="connsiteX70" fmla="*/ 8943163 w 12191999"/>
              <a:gd name="connsiteY70" fmla="*/ 4456606 h 6857999"/>
              <a:gd name="connsiteX71" fmla="*/ 9246330 w 12191999"/>
              <a:gd name="connsiteY71" fmla="*/ 4456606 h 6857999"/>
              <a:gd name="connsiteX72" fmla="*/ 8955575 w 12191999"/>
              <a:gd name="connsiteY72" fmla="*/ 4025675 h 6857999"/>
              <a:gd name="connsiteX73" fmla="*/ 9217594 w 12191999"/>
              <a:gd name="connsiteY73" fmla="*/ 3659000 h 6857999"/>
              <a:gd name="connsiteX74" fmla="*/ 8944353 w 12191999"/>
              <a:gd name="connsiteY74" fmla="*/ 3659341 h 6857999"/>
              <a:gd name="connsiteX75" fmla="*/ 8715999 w 12191999"/>
              <a:gd name="connsiteY75" fmla="*/ 4008336 h 6857999"/>
              <a:gd name="connsiteX76" fmla="*/ 8713279 w 12191999"/>
              <a:gd name="connsiteY76" fmla="*/ 4008336 h 6857999"/>
              <a:gd name="connsiteX77" fmla="*/ 8713279 w 12191999"/>
              <a:gd name="connsiteY77" fmla="*/ 3429170 h 6857999"/>
              <a:gd name="connsiteX78" fmla="*/ 7988093 w 12191999"/>
              <a:gd name="connsiteY78" fmla="*/ 3429000 h 6857999"/>
              <a:gd name="connsiteX79" fmla="*/ 8040463 w 12191999"/>
              <a:gd name="connsiteY79" fmla="*/ 3502437 h 6857999"/>
              <a:gd name="connsiteX80" fmla="*/ 8040463 w 12191999"/>
              <a:gd name="connsiteY80" fmla="*/ 4456606 h 6857999"/>
              <a:gd name="connsiteX81" fmla="*/ 8296191 w 12191999"/>
              <a:gd name="connsiteY81" fmla="*/ 4456606 h 6857999"/>
              <a:gd name="connsiteX82" fmla="*/ 8296191 w 12191999"/>
              <a:gd name="connsiteY82" fmla="*/ 3429170 h 6857999"/>
              <a:gd name="connsiteX83" fmla="*/ 6327559 w 12191999"/>
              <a:gd name="connsiteY83" fmla="*/ 3429000 h 6857999"/>
              <a:gd name="connsiteX84" fmla="*/ 6379249 w 12191999"/>
              <a:gd name="connsiteY84" fmla="*/ 3501247 h 6857999"/>
              <a:gd name="connsiteX85" fmla="*/ 6379249 w 12191999"/>
              <a:gd name="connsiteY85" fmla="*/ 4456606 h 6857999"/>
              <a:gd name="connsiteX86" fmla="*/ 6634977 w 12191999"/>
              <a:gd name="connsiteY86" fmla="*/ 4456606 h 6857999"/>
              <a:gd name="connsiteX87" fmla="*/ 6634977 w 12191999"/>
              <a:gd name="connsiteY87" fmla="*/ 4066472 h 6857999"/>
              <a:gd name="connsiteX88" fmla="*/ 6637697 w 12191999"/>
              <a:gd name="connsiteY88" fmla="*/ 4066472 h 6857999"/>
              <a:gd name="connsiteX89" fmla="*/ 6864690 w 12191999"/>
              <a:gd name="connsiteY89" fmla="*/ 4456606 h 6857999"/>
              <a:gd name="connsiteX90" fmla="*/ 7164286 w 12191999"/>
              <a:gd name="connsiteY90" fmla="*/ 4456606 h 6857999"/>
              <a:gd name="connsiteX91" fmla="*/ 6877272 w 12191999"/>
              <a:gd name="connsiteY91" fmla="*/ 4025675 h 6857999"/>
              <a:gd name="connsiteX92" fmla="*/ 7139122 w 12191999"/>
              <a:gd name="connsiteY92" fmla="*/ 3659000 h 6857999"/>
              <a:gd name="connsiteX93" fmla="*/ 6866051 w 12191999"/>
              <a:gd name="connsiteY93" fmla="*/ 3659341 h 6857999"/>
              <a:gd name="connsiteX94" fmla="*/ 6637697 w 12191999"/>
              <a:gd name="connsiteY94" fmla="*/ 4008336 h 6857999"/>
              <a:gd name="connsiteX95" fmla="*/ 6634977 w 12191999"/>
              <a:gd name="connsiteY95" fmla="*/ 4008336 h 6857999"/>
              <a:gd name="connsiteX96" fmla="*/ 6634977 w 12191999"/>
              <a:gd name="connsiteY96" fmla="*/ 3429170 h 6857999"/>
              <a:gd name="connsiteX97" fmla="*/ 5904859 w 12191999"/>
              <a:gd name="connsiteY97" fmla="*/ 3429000 h 6857999"/>
              <a:gd name="connsiteX98" fmla="*/ 5958420 w 12191999"/>
              <a:gd name="connsiteY98" fmla="*/ 3502607 h 6857999"/>
              <a:gd name="connsiteX99" fmla="*/ 5958931 w 12191999"/>
              <a:gd name="connsiteY99" fmla="*/ 3687728 h 6857999"/>
              <a:gd name="connsiteX100" fmla="*/ 5802160 w 12191999"/>
              <a:gd name="connsiteY100" fmla="*/ 3640641 h 6857999"/>
              <a:gd name="connsiteX101" fmla="*/ 5453085 w 12191999"/>
              <a:gd name="connsiteY101" fmla="*/ 4062053 h 6857999"/>
              <a:gd name="connsiteX102" fmla="*/ 5754381 w 12191999"/>
              <a:gd name="connsiteY102" fmla="*/ 4474965 h 6857999"/>
              <a:gd name="connsiteX103" fmla="*/ 5961310 w 12191999"/>
              <a:gd name="connsiteY103" fmla="*/ 4383169 h 6857999"/>
              <a:gd name="connsiteX104" fmla="*/ 5966921 w 12191999"/>
              <a:gd name="connsiteY104" fmla="*/ 4456436 h 6857999"/>
              <a:gd name="connsiteX105" fmla="*/ 6260396 w 12191999"/>
              <a:gd name="connsiteY105" fmla="*/ 4456436 h 6857999"/>
              <a:gd name="connsiteX106" fmla="*/ 6213468 w 12191999"/>
              <a:gd name="connsiteY106" fmla="*/ 4383679 h 6857999"/>
              <a:gd name="connsiteX107" fmla="*/ 6213468 w 12191999"/>
              <a:gd name="connsiteY107" fmla="*/ 3429170 h 6857999"/>
              <a:gd name="connsiteX108" fmla="*/ 0 w 12191999"/>
              <a:gd name="connsiteY108" fmla="*/ 0 h 6857999"/>
              <a:gd name="connsiteX109" fmla="*/ 12191999 w 12191999"/>
              <a:gd name="connsiteY109" fmla="*/ 0 h 6857999"/>
              <a:gd name="connsiteX110" fmla="*/ 12191999 w 12191999"/>
              <a:gd name="connsiteY110" fmla="*/ 6857999 h 6857999"/>
              <a:gd name="connsiteX111" fmla="*/ 0 w 12191999"/>
              <a:gd name="connsiteY111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</a:cxnLst>
            <a:rect l="l" t="t" r="r" b="b"/>
            <a:pathLst>
              <a:path w="12191999" h="6857999">
                <a:moveTo>
                  <a:pt x="7546859" y="4099622"/>
                </a:moveTo>
                <a:cubicBezTo>
                  <a:pt x="7578655" y="4099622"/>
                  <a:pt x="7605350" y="4101151"/>
                  <a:pt x="7632044" y="4103021"/>
                </a:cubicBezTo>
                <a:lnTo>
                  <a:pt x="7632044" y="4253805"/>
                </a:lnTo>
                <a:lnTo>
                  <a:pt x="7632215" y="4253805"/>
                </a:lnTo>
                <a:cubicBezTo>
                  <a:pt x="7607730" y="4278114"/>
                  <a:pt x="7562842" y="4299873"/>
                  <a:pt x="7513192" y="4299873"/>
                </a:cubicBezTo>
                <a:cubicBezTo>
                  <a:pt x="7459122" y="4299873"/>
                  <a:pt x="7412704" y="4266555"/>
                  <a:pt x="7412704" y="4206718"/>
                </a:cubicBezTo>
                <a:cubicBezTo>
                  <a:pt x="7412704" y="4140591"/>
                  <a:pt x="7467964" y="4099622"/>
                  <a:pt x="7546859" y="4099622"/>
                </a:cubicBezTo>
                <a:close/>
                <a:moveTo>
                  <a:pt x="4431872" y="3817944"/>
                </a:moveTo>
                <a:cubicBezTo>
                  <a:pt x="4554297" y="3817944"/>
                  <a:pt x="4567899" y="3936938"/>
                  <a:pt x="4567899" y="4058653"/>
                </a:cubicBezTo>
                <a:cubicBezTo>
                  <a:pt x="4567899" y="4179008"/>
                  <a:pt x="4554297" y="4298003"/>
                  <a:pt x="4431872" y="4298003"/>
                </a:cubicBezTo>
                <a:cubicBezTo>
                  <a:pt x="4317611" y="4298003"/>
                  <a:pt x="4295847" y="4179008"/>
                  <a:pt x="4295847" y="4058653"/>
                </a:cubicBezTo>
                <a:cubicBezTo>
                  <a:pt x="4295847" y="3936938"/>
                  <a:pt x="4317611" y="3817944"/>
                  <a:pt x="4431872" y="3817944"/>
                </a:cubicBezTo>
                <a:close/>
                <a:moveTo>
                  <a:pt x="5867113" y="3816414"/>
                </a:moveTo>
                <a:cubicBezTo>
                  <a:pt x="5909111" y="3816414"/>
                  <a:pt x="5933086" y="3825253"/>
                  <a:pt x="5957909" y="3838003"/>
                </a:cubicBezTo>
                <a:lnTo>
                  <a:pt x="5957909" y="4246156"/>
                </a:lnTo>
                <a:lnTo>
                  <a:pt x="5957740" y="4246156"/>
                </a:lnTo>
                <a:cubicBezTo>
                  <a:pt x="5931894" y="4274033"/>
                  <a:pt x="5889897" y="4291884"/>
                  <a:pt x="5848068" y="4291884"/>
                </a:cubicBezTo>
                <a:cubicBezTo>
                  <a:pt x="5733807" y="4291884"/>
                  <a:pt x="5714423" y="4147558"/>
                  <a:pt x="5714423" y="4074802"/>
                </a:cubicBezTo>
                <a:cubicBezTo>
                  <a:pt x="5714423" y="3929969"/>
                  <a:pt x="5744860" y="3816414"/>
                  <a:pt x="5867113" y="3816414"/>
                </a:cubicBezTo>
                <a:close/>
                <a:moveTo>
                  <a:pt x="5383712" y="3650160"/>
                </a:moveTo>
                <a:cubicBezTo>
                  <a:pt x="5327430" y="3650160"/>
                  <a:pt x="5233743" y="3683819"/>
                  <a:pt x="5180353" y="3772555"/>
                </a:cubicBezTo>
                <a:lnTo>
                  <a:pt x="5177634" y="3772555"/>
                </a:lnTo>
                <a:lnTo>
                  <a:pt x="5177634" y="3659340"/>
                </a:lnTo>
                <a:lnTo>
                  <a:pt x="4869195" y="3658999"/>
                </a:lnTo>
                <a:lnTo>
                  <a:pt x="4921904" y="3732096"/>
                </a:lnTo>
                <a:lnTo>
                  <a:pt x="4921904" y="4456605"/>
                </a:lnTo>
                <a:lnTo>
                  <a:pt x="5177634" y="4456605"/>
                </a:lnTo>
                <a:lnTo>
                  <a:pt x="5177634" y="3954108"/>
                </a:lnTo>
                <a:cubicBezTo>
                  <a:pt x="5213680" y="3902429"/>
                  <a:pt x="5274551" y="3865540"/>
                  <a:pt x="5349705" y="3865540"/>
                </a:cubicBezTo>
                <a:cubicBezTo>
                  <a:pt x="5394594" y="3865540"/>
                  <a:pt x="5417037" y="3870810"/>
                  <a:pt x="5432001" y="3877440"/>
                </a:cubicBezTo>
                <a:lnTo>
                  <a:pt x="5432001" y="3653900"/>
                </a:lnTo>
                <a:cubicBezTo>
                  <a:pt x="5417037" y="3651351"/>
                  <a:pt x="5398845" y="3649991"/>
                  <a:pt x="5383712" y="3650160"/>
                </a:cubicBezTo>
                <a:close/>
                <a:moveTo>
                  <a:pt x="7553829" y="3640811"/>
                </a:moveTo>
                <a:cubicBezTo>
                  <a:pt x="7268516" y="3640811"/>
                  <a:pt x="7201353" y="3806554"/>
                  <a:pt x="7198973" y="3896480"/>
                </a:cubicBezTo>
                <a:lnTo>
                  <a:pt x="7432427" y="3896480"/>
                </a:lnTo>
                <a:cubicBezTo>
                  <a:pt x="7432427" y="3854833"/>
                  <a:pt x="7462183" y="3807404"/>
                  <a:pt x="7531046" y="3807404"/>
                </a:cubicBezTo>
                <a:cubicBezTo>
                  <a:pt x="7608410" y="3807404"/>
                  <a:pt x="7632385" y="3843273"/>
                  <a:pt x="7632385" y="3908380"/>
                </a:cubicBezTo>
                <a:lnTo>
                  <a:pt x="7632385" y="3954278"/>
                </a:lnTo>
                <a:cubicBezTo>
                  <a:pt x="7605179" y="3951557"/>
                  <a:pt x="7568453" y="3949008"/>
                  <a:pt x="7535806" y="3949008"/>
                </a:cubicBezTo>
                <a:cubicBezTo>
                  <a:pt x="7350472" y="3949008"/>
                  <a:pt x="7167177" y="4032475"/>
                  <a:pt x="7167177" y="4230857"/>
                </a:cubicBezTo>
                <a:cubicBezTo>
                  <a:pt x="7167177" y="4329792"/>
                  <a:pt x="7230089" y="4473436"/>
                  <a:pt x="7412364" y="4473436"/>
                </a:cubicBezTo>
                <a:cubicBezTo>
                  <a:pt x="7508942" y="4473436"/>
                  <a:pt x="7581205" y="4437567"/>
                  <a:pt x="7632215" y="4387590"/>
                </a:cubicBezTo>
                <a:lnTo>
                  <a:pt x="7636296" y="4387590"/>
                </a:lnTo>
                <a:cubicBezTo>
                  <a:pt x="7636296" y="4416659"/>
                  <a:pt x="7640376" y="4422438"/>
                  <a:pt x="7641737" y="4456777"/>
                </a:cubicBezTo>
                <a:lnTo>
                  <a:pt x="7929261" y="4456777"/>
                </a:lnTo>
                <a:lnTo>
                  <a:pt x="7883692" y="4385550"/>
                </a:lnTo>
                <a:lnTo>
                  <a:pt x="7883862" y="3929629"/>
                </a:lnTo>
                <a:cubicBezTo>
                  <a:pt x="7883862" y="3724277"/>
                  <a:pt x="7773681" y="3640811"/>
                  <a:pt x="7553829" y="3640811"/>
                </a:cubicBezTo>
                <a:close/>
                <a:moveTo>
                  <a:pt x="4431872" y="3640811"/>
                </a:moveTo>
                <a:cubicBezTo>
                  <a:pt x="4161182" y="3640811"/>
                  <a:pt x="4034679" y="3827123"/>
                  <a:pt x="4034848" y="4058653"/>
                </a:cubicBezTo>
                <a:cubicBezTo>
                  <a:pt x="4034848" y="4288654"/>
                  <a:pt x="4161182" y="4475135"/>
                  <a:pt x="4431872" y="4475135"/>
                </a:cubicBezTo>
                <a:cubicBezTo>
                  <a:pt x="4702395" y="4475135"/>
                  <a:pt x="4828897" y="4288823"/>
                  <a:pt x="4828897" y="4058653"/>
                </a:cubicBezTo>
                <a:cubicBezTo>
                  <a:pt x="4828897" y="3827293"/>
                  <a:pt x="4702564" y="3640811"/>
                  <a:pt x="4431872" y="3640811"/>
                </a:cubicBezTo>
                <a:close/>
                <a:moveTo>
                  <a:pt x="2971807" y="3436309"/>
                </a:moveTo>
                <a:lnTo>
                  <a:pt x="3041350" y="3527086"/>
                </a:lnTo>
                <a:lnTo>
                  <a:pt x="3041350" y="4457795"/>
                </a:lnTo>
                <a:lnTo>
                  <a:pt x="3287387" y="4457795"/>
                </a:lnTo>
                <a:lnTo>
                  <a:pt x="3286877" y="3866731"/>
                </a:lnTo>
                <a:lnTo>
                  <a:pt x="3742902" y="4457455"/>
                </a:lnTo>
                <a:lnTo>
                  <a:pt x="3942520" y="4457626"/>
                </a:lnTo>
                <a:lnTo>
                  <a:pt x="3942520" y="3436479"/>
                </a:lnTo>
                <a:lnTo>
                  <a:pt x="3694273" y="3436479"/>
                </a:lnTo>
                <a:lnTo>
                  <a:pt x="3694443" y="4016494"/>
                </a:lnTo>
                <a:lnTo>
                  <a:pt x="3265112" y="3436479"/>
                </a:lnTo>
                <a:close/>
                <a:moveTo>
                  <a:pt x="8406031" y="3429000"/>
                </a:moveTo>
                <a:lnTo>
                  <a:pt x="8457550" y="3501247"/>
                </a:lnTo>
                <a:lnTo>
                  <a:pt x="8457550" y="4456606"/>
                </a:lnTo>
                <a:lnTo>
                  <a:pt x="8713279" y="4456606"/>
                </a:lnTo>
                <a:lnTo>
                  <a:pt x="8713279" y="4066472"/>
                </a:lnTo>
                <a:lnTo>
                  <a:pt x="8715999" y="4066472"/>
                </a:lnTo>
                <a:lnTo>
                  <a:pt x="8943163" y="4456606"/>
                </a:lnTo>
                <a:lnTo>
                  <a:pt x="9246330" y="4456606"/>
                </a:lnTo>
                <a:lnTo>
                  <a:pt x="8955575" y="4025675"/>
                </a:lnTo>
                <a:lnTo>
                  <a:pt x="9217594" y="3659000"/>
                </a:lnTo>
                <a:lnTo>
                  <a:pt x="8944353" y="3659341"/>
                </a:lnTo>
                <a:lnTo>
                  <a:pt x="8715999" y="4008336"/>
                </a:lnTo>
                <a:lnTo>
                  <a:pt x="8713279" y="4008336"/>
                </a:lnTo>
                <a:lnTo>
                  <a:pt x="8713279" y="3429170"/>
                </a:lnTo>
                <a:close/>
                <a:moveTo>
                  <a:pt x="7988093" y="3429000"/>
                </a:moveTo>
                <a:lnTo>
                  <a:pt x="8040463" y="3502437"/>
                </a:lnTo>
                <a:lnTo>
                  <a:pt x="8040463" y="4456606"/>
                </a:lnTo>
                <a:lnTo>
                  <a:pt x="8296191" y="4456606"/>
                </a:lnTo>
                <a:lnTo>
                  <a:pt x="8296191" y="3429170"/>
                </a:lnTo>
                <a:close/>
                <a:moveTo>
                  <a:pt x="6327559" y="3429000"/>
                </a:moveTo>
                <a:lnTo>
                  <a:pt x="6379249" y="3501247"/>
                </a:lnTo>
                <a:lnTo>
                  <a:pt x="6379249" y="4456606"/>
                </a:lnTo>
                <a:lnTo>
                  <a:pt x="6634977" y="4456606"/>
                </a:lnTo>
                <a:lnTo>
                  <a:pt x="6634977" y="4066472"/>
                </a:lnTo>
                <a:lnTo>
                  <a:pt x="6637697" y="4066472"/>
                </a:lnTo>
                <a:lnTo>
                  <a:pt x="6864690" y="4456606"/>
                </a:lnTo>
                <a:lnTo>
                  <a:pt x="7164286" y="4456606"/>
                </a:lnTo>
                <a:lnTo>
                  <a:pt x="6877272" y="4025675"/>
                </a:lnTo>
                <a:lnTo>
                  <a:pt x="7139122" y="3659000"/>
                </a:lnTo>
                <a:lnTo>
                  <a:pt x="6866051" y="3659341"/>
                </a:lnTo>
                <a:lnTo>
                  <a:pt x="6637697" y="4008336"/>
                </a:lnTo>
                <a:lnTo>
                  <a:pt x="6634977" y="4008336"/>
                </a:lnTo>
                <a:lnTo>
                  <a:pt x="6634977" y="3429170"/>
                </a:lnTo>
                <a:close/>
                <a:moveTo>
                  <a:pt x="5904859" y="3429000"/>
                </a:moveTo>
                <a:lnTo>
                  <a:pt x="5958420" y="3502607"/>
                </a:lnTo>
                <a:lnTo>
                  <a:pt x="5958931" y="3687728"/>
                </a:lnTo>
                <a:cubicBezTo>
                  <a:pt x="5930875" y="3666989"/>
                  <a:pt x="5867453" y="3640641"/>
                  <a:pt x="5802160" y="3640641"/>
                </a:cubicBezTo>
                <a:cubicBezTo>
                  <a:pt x="5550853" y="3640641"/>
                  <a:pt x="5453085" y="3844972"/>
                  <a:pt x="5453085" y="4062053"/>
                </a:cubicBezTo>
                <a:cubicBezTo>
                  <a:pt x="5453085" y="4300892"/>
                  <a:pt x="5539290" y="4474965"/>
                  <a:pt x="5754381" y="4474965"/>
                </a:cubicBezTo>
                <a:cubicBezTo>
                  <a:pt x="5824945" y="4474965"/>
                  <a:pt x="5911151" y="4443006"/>
                  <a:pt x="5961310" y="4383169"/>
                </a:cubicBezTo>
                <a:lnTo>
                  <a:pt x="5966921" y="4456436"/>
                </a:lnTo>
                <a:lnTo>
                  <a:pt x="6260396" y="4456436"/>
                </a:lnTo>
                <a:lnTo>
                  <a:pt x="6213468" y="4383679"/>
                </a:lnTo>
                <a:lnTo>
                  <a:pt x="6213468" y="3429170"/>
                </a:ln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6857999"/>
                </a:lnTo>
                <a:lnTo>
                  <a:pt x="0" y="6857999"/>
                </a:lnTo>
                <a:close/>
              </a:path>
            </a:pathLst>
          </a:cu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132" name="Google Shape;132;p41"/>
          <p:cNvSpPr txBox="1">
            <a:spLocks noGrp="1"/>
          </p:cNvSpPr>
          <p:nvPr>
            <p:ph type="ctrTitle"/>
          </p:nvPr>
        </p:nvSpPr>
        <p:spPr>
          <a:xfrm>
            <a:off x="561474" y="4488036"/>
            <a:ext cx="11069053" cy="1046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9359"/>
              </a:buClr>
              <a:buSzPts val="3600"/>
              <a:buFont typeface="Trebuchet MS"/>
              <a:buNone/>
              <a:defRPr sz="3600">
                <a:solidFill>
                  <a:srgbClr val="2D935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9CA15FA-6242-6F40-8BB6-57C06A5FC4C0}"/>
              </a:ext>
            </a:extLst>
          </p:cNvPr>
          <p:cNvSpPr txBox="1"/>
          <p:nvPr userDrawn="1"/>
        </p:nvSpPr>
        <p:spPr>
          <a:xfrm>
            <a:off x="6995886" y="3744686"/>
            <a:ext cx="18473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FI" dirty="0"/>
          </a:p>
        </p:txBody>
      </p:sp>
    </p:spTree>
    <p:extLst>
      <p:ext uri="{BB962C8B-B14F-4D97-AF65-F5344CB8AC3E}">
        <p14:creationId xmlns:p14="http://schemas.microsoft.com/office/powerpoint/2010/main" val="597035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 1/2, place fo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Google Shape;131;p41">
            <a:extLst>
              <a:ext uri="{FF2B5EF4-FFF2-40B4-BE49-F238E27FC236}">
                <a16:creationId xmlns:a16="http://schemas.microsoft.com/office/drawing/2014/main" id="{AB4517BB-ECBF-E547-8495-64CE022156E9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8" name="Google Shape;56;p29">
            <a:extLst>
              <a:ext uri="{FF2B5EF4-FFF2-40B4-BE49-F238E27FC236}">
                <a16:creationId xmlns:a16="http://schemas.microsoft.com/office/drawing/2014/main" id="{E00E413A-8555-8C4E-A3AD-5D96C14E35AE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2D935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9" name="Google Shape;57;p29">
            <a:extLst>
              <a:ext uri="{FF2B5EF4-FFF2-40B4-BE49-F238E27FC236}">
                <a16:creationId xmlns:a16="http://schemas.microsoft.com/office/drawing/2014/main" id="{C259E959-2C11-3740-A116-F8FCAA24123B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839788" y="2628900"/>
            <a:ext cx="4369886" cy="33800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Trebuchet MS"/>
              <a:buNone/>
              <a:defRPr sz="54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pic>
        <p:nvPicPr>
          <p:cNvPr id="10" name="Google Shape;129;p4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F577552-6425-4149-87C8-8036C7FF290F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63057" y="1341538"/>
            <a:ext cx="4369886" cy="7291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802833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page 2/3, place fo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E1B3F973-E1C2-0148-AC7E-A77C9260D064}"/>
              </a:ext>
            </a:extLst>
          </p:cNvPr>
          <p:cNvSpPr/>
          <p:nvPr userDrawn="1"/>
        </p:nvSpPr>
        <p:spPr>
          <a:xfrm>
            <a:off x="0" y="5021943"/>
            <a:ext cx="12191999" cy="1836057"/>
          </a:xfrm>
          <a:prstGeom prst="rect">
            <a:avLst/>
          </a:prstGeom>
          <a:solidFill>
            <a:srgbClr val="2D93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8" name="Google Shape;131;p41">
            <a:extLst>
              <a:ext uri="{FF2B5EF4-FFF2-40B4-BE49-F238E27FC236}">
                <a16:creationId xmlns:a16="http://schemas.microsoft.com/office/drawing/2014/main" id="{A452CB2F-5F82-3B4A-87CC-C1B0FC218971}"/>
              </a:ext>
            </a:extLst>
          </p:cNvPr>
          <p:cNvSpPr>
            <a:spLocks noGrp="1"/>
          </p:cNvSpPr>
          <p:nvPr>
            <p:ph type="pic" idx="2"/>
          </p:nvPr>
        </p:nvSpPr>
        <p:spPr>
          <a:xfrm>
            <a:off x="0" y="0"/>
            <a:ext cx="12192000" cy="50219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sp>
        <p:nvSpPr>
          <p:cNvPr id="9" name="Google Shape;132;p41">
            <a:extLst>
              <a:ext uri="{FF2B5EF4-FFF2-40B4-BE49-F238E27FC236}">
                <a16:creationId xmlns:a16="http://schemas.microsoft.com/office/drawing/2014/main" id="{03747908-A9C9-BA4C-8DB2-6C9D5BAF18DB}"/>
              </a:ext>
            </a:extLst>
          </p:cNvPr>
          <p:cNvSpPr txBox="1">
            <a:spLocks noGrp="1"/>
          </p:cNvSpPr>
          <p:nvPr>
            <p:ph type="ctrTitle"/>
          </p:nvPr>
        </p:nvSpPr>
        <p:spPr>
          <a:xfrm>
            <a:off x="561474" y="5021943"/>
            <a:ext cx="7484021" cy="18360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9359"/>
              </a:buClr>
              <a:buSzPts val="3600"/>
              <a:buFont typeface="Trebuchet MS"/>
              <a:buNone/>
              <a:defRPr sz="3600">
                <a:solidFill>
                  <a:schemeClr val="bg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pic>
        <p:nvPicPr>
          <p:cNvPr id="10" name="Google Shape;129;p40" descr="A picture containing drawing&#10;&#10;Description automatically generated">
            <a:extLst>
              <a:ext uri="{FF2B5EF4-FFF2-40B4-BE49-F238E27FC236}">
                <a16:creationId xmlns:a16="http://schemas.microsoft.com/office/drawing/2014/main" id="{F47F3D7A-6334-804E-ACC4-58120D5DF3CA}"/>
              </a:ext>
            </a:extLst>
          </p:cNvPr>
          <p:cNvPicPr preferRelativeResize="0"/>
          <p:nvPr userDrawn="1"/>
        </p:nvPicPr>
        <p:blipFill rotWithShape="1">
          <a:blip r:embed="rId2">
            <a:alphaModFix/>
          </a:blip>
          <a:srcRect/>
          <a:stretch/>
        </p:blipFill>
        <p:spPr>
          <a:xfrm>
            <a:off x="8606971" y="5661016"/>
            <a:ext cx="3023553" cy="50392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134284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coverpage, photo">
  <p:cSld name="Section coverpage, photo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6" name="Google Shape;136;p42" descr="A picture containing water, person, outdoor, perso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37" name="Google Shape;137;p42"/>
          <p:cNvSpPr txBox="1">
            <a:spLocks noGrp="1"/>
          </p:cNvSpPr>
          <p:nvPr>
            <p:ph type="title"/>
          </p:nvPr>
        </p:nvSpPr>
        <p:spPr>
          <a:xfrm>
            <a:off x="839789" y="761999"/>
            <a:ext cx="5256212" cy="47985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9359"/>
              </a:buClr>
              <a:buSzPts val="5400"/>
              <a:buFont typeface="Trebuchet MS"/>
              <a:buNone/>
              <a:defRPr sz="5400">
                <a:solidFill>
                  <a:srgbClr val="2D9359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dirty="0"/>
          </a:p>
        </p:txBody>
      </p:sp>
      <p:pic>
        <p:nvPicPr>
          <p:cNvPr id="138" name="Google Shape;138;p42" descr="A picture containing drawing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42330" y="6137577"/>
            <a:ext cx="1579341" cy="26322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Growth Green slide, text and place for photo" userDrawn="1">
  <p:cSld name="Growth Green slide, text and place for photo">
    <p:spTree>
      <p:nvGrpSpPr>
        <p:cNvPr id="1" name="Shape 1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" name="Google Shape;155;p45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94C35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56" name="Google Shape;156;p45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439723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Trebuchet MS"/>
              <a:buNone/>
              <a:defRPr sz="3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45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pic>
        <p:nvPicPr>
          <p:cNvPr id="159" name="Google Shape;159;p45" descr="A picture containing drawing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87234" y="457199"/>
            <a:ext cx="1949119" cy="3248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0" name="Google Shape;160;p45" descr="A picture containing drawing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42330" y="6137577"/>
            <a:ext cx="1579341" cy="263223"/>
          </a:xfrm>
          <a:prstGeom prst="rect">
            <a:avLst/>
          </a:prstGeom>
          <a:noFill/>
          <a:ln>
            <a:noFill/>
          </a:ln>
        </p:spPr>
      </p:pic>
      <p:sp>
        <p:nvSpPr>
          <p:cNvPr id="161" name="Google Shape;161;p45"/>
          <p:cNvSpPr>
            <a:spLocks noGrp="1"/>
          </p:cNvSpPr>
          <p:nvPr>
            <p:ph type="pic" idx="3"/>
          </p:nvPr>
        </p:nvSpPr>
        <p:spPr>
          <a:xfrm>
            <a:off x="10157011" y="6142354"/>
            <a:ext cx="1579342" cy="263223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1400"/>
              <a:buFont typeface="Arial"/>
              <a:buNone/>
              <a:defRPr sz="1400" b="0" i="0" u="none" strike="noStrike" cap="none">
                <a:noFill/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3A6076A4-6B73-F14D-8CA8-5FB3738366A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9788" y="2057400"/>
            <a:ext cx="4405543" cy="4343400"/>
          </a:xfrm>
        </p:spPr>
        <p:txBody>
          <a:bodyPr/>
          <a:lstStyle>
            <a:lvl1pPr marL="266400" indent="-266400"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cean blue slide, text and place for photo" userDrawn="1">
  <p:cSld name="Ocean blue slide, text and place for photo"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Google Shape;164;p46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068EC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>
              <a:solidFill>
                <a:schemeClr val="lt1"/>
              </a:solidFill>
              <a:latin typeface="Trebuchet MS"/>
              <a:ea typeface="Trebuchet MS"/>
              <a:cs typeface="Trebuchet MS"/>
              <a:sym typeface="Trebuchet MS"/>
            </a:endParaRPr>
          </a:p>
        </p:txBody>
      </p:sp>
      <p:sp>
        <p:nvSpPr>
          <p:cNvPr id="165" name="Google Shape;165;p4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4397230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Trebuchet MS"/>
              <a:buNone/>
              <a:defRPr sz="3200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" name="Google Shape;166;p46"/>
          <p:cNvSpPr>
            <a:spLocks noGrp="1"/>
          </p:cNvSpPr>
          <p:nvPr>
            <p:ph type="pic" idx="2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/>
          </a:p>
        </p:txBody>
      </p:sp>
      <p:pic>
        <p:nvPicPr>
          <p:cNvPr id="168" name="Google Shape;168;p46" descr="A picture containing drawing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787234" y="457199"/>
            <a:ext cx="1949119" cy="324853"/>
          </a:xfrm>
          <a:prstGeom prst="rect">
            <a:avLst/>
          </a:prstGeom>
          <a:noFill/>
          <a:ln>
            <a:noFill/>
          </a:ln>
        </p:spPr>
      </p:pic>
      <p:pic>
        <p:nvPicPr>
          <p:cNvPr id="169" name="Google Shape;169;p46" descr="A picture containing drawing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142330" y="6137577"/>
            <a:ext cx="1579341" cy="263223"/>
          </a:xfrm>
          <a:prstGeom prst="rect">
            <a:avLst/>
          </a:prstGeom>
          <a:noFill/>
          <a:ln>
            <a:noFill/>
          </a:ln>
        </p:spPr>
      </p:pic>
      <p:sp>
        <p:nvSpPr>
          <p:cNvPr id="170" name="Google Shape;170;p46"/>
          <p:cNvSpPr>
            <a:spLocks noGrp="1"/>
          </p:cNvSpPr>
          <p:nvPr>
            <p:ph type="pic" idx="3"/>
          </p:nvPr>
        </p:nvSpPr>
        <p:spPr>
          <a:xfrm>
            <a:off x="10157011" y="6142354"/>
            <a:ext cx="1579342" cy="263223"/>
          </a:xfrm>
          <a:prstGeom prst="rect">
            <a:avLst/>
          </a:prstGeom>
          <a:blipFill rotWithShape="1">
            <a:blip r:embed="rId3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1400"/>
              <a:buFont typeface="Arial"/>
              <a:buNone/>
              <a:defRPr sz="1400" b="0" i="0" u="none" strike="noStrike" cap="none">
                <a:noFill/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endParaRPr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F7BEFC87-CA45-A64E-B147-D4216DCDFE5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9788" y="2057400"/>
            <a:ext cx="4405543" cy="4343400"/>
          </a:xfrm>
        </p:spPr>
        <p:txBody>
          <a:bodyPr/>
          <a:lstStyle>
            <a:lvl1pPr marL="266400" indent="-266400"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FI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A9BDAC64-3197-46FA-9141-183E558D7E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061832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73" imgH="476" progId="TCLayout.ActiveDocument.1">
                  <p:embed/>
                </p:oleObj>
              </mc:Choice>
              <mc:Fallback>
                <p:oleObj name="think-cell Slide" r:id="rId13" imgW="473" imgH="47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A9BDAC64-3197-46FA-9141-183E558D7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21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Trebuchet MS"/>
              <a:buNone/>
              <a:defRPr sz="44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1" name="Google Shape;11;p2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302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lvl="0"/>
            <a:endParaRPr dirty="0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65" r:id="rId3"/>
    <p:sldLayoutId id="2147483683" r:id="rId4"/>
    <p:sldLayoutId id="2147483686" r:id="rId5"/>
    <p:sldLayoutId id="2147483687" r:id="rId6"/>
    <p:sldLayoutId id="2147483669" r:id="rId7"/>
    <p:sldLayoutId id="2147483672" r:id="rId8"/>
    <p:sldLayoutId id="2147483673" r:id="rId9"/>
    <p:sldLayoutId id="2147483676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L="266400" marR="0" lvl="0" indent="-26640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Tx/>
        <a:buNone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5" Type="http://schemas.openxmlformats.org/officeDocument/2006/relationships/image" Target="../media/image6.jp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8.x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2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5" Type="http://schemas.openxmlformats.org/officeDocument/2006/relationships/image" Target="../media/image8.jp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hyperlink" Target="http://www.nordkalk.pl/" TargetMode="Externa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A16319D4-7EF7-49DC-813F-F836AFF42F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0571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A16319D4-7EF7-49DC-813F-F836AFF42F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2" name="Google Shape;242;p1"/>
          <p:cNvSpPr txBox="1">
            <a:spLocks noGrp="1"/>
          </p:cNvSpPr>
          <p:nvPr>
            <p:ph type="ctrTitle"/>
          </p:nvPr>
        </p:nvSpPr>
        <p:spPr>
          <a:xfrm>
            <a:off x="561474" y="3656886"/>
            <a:ext cx="11069053" cy="10461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600"/>
              <a:buFont typeface="Trebuchet MS"/>
              <a:buNone/>
            </a:pPr>
            <a:r>
              <a:rPr lang="pl-PL" dirty="0"/>
              <a:t>Rada Dialogu Społecznego</a:t>
            </a:r>
            <a:endParaRPr lang="en-GB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ymbol zastępczy obrazu 8" descr="Obraz zawierający zewnętrzne&#10;&#10;Opis wygenerowany automatycznie">
            <a:extLst>
              <a:ext uri="{FF2B5EF4-FFF2-40B4-BE49-F238E27FC236}">
                <a16:creationId xmlns:a16="http://schemas.microsoft.com/office/drawing/2014/main" id="{C165B4EF-2B7D-49D5-940B-3B0DFC8778A2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37737" r="37737"/>
          <a:stretch>
            <a:fillRect/>
          </a:stretch>
        </p:blipFill>
        <p:spPr/>
      </p:pic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E21BD320-FCED-42A6-B26B-B602F7868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E21BD320-FCED-42A6-B26B-B602F7868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0C66B3-1A93-440B-BEEA-EF0BC8C73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Projekty zrealizowane w ramach DS w 2021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B458ACA-9025-43CD-80CD-B3FA81B16281}"/>
              </a:ext>
            </a:extLst>
          </p:cNvPr>
          <p:cNvSpPr>
            <a:spLocks noGrp="1"/>
          </p:cNvSpPr>
          <p:nvPr>
            <p:ph type="pic" idx="3"/>
          </p:nvPr>
        </p:nvSpPr>
        <p:spPr/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6923C2-E93A-457E-B1C2-2177A689F74B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 fontScale="92500" lnSpcReduction="20000"/>
          </a:bodyPr>
          <a:lstStyle/>
          <a:p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zyszczenie dróg w 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ławatkowie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Skałce, Rykoszynie</a:t>
            </a:r>
          </a:p>
          <a:p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zystanek ul. Słoneczna (Bławatków) - remont nawierzchni chodnikowej</a:t>
            </a:r>
          </a:p>
          <a:p>
            <a:r>
              <a:rPr lang="pl-PL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drożnienie r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wów wzdłuż torów w 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ławatkowie</a:t>
            </a:r>
            <a:endParaRPr lang="pl-P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lub Sportowy Sokół-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rdkalk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órnik Rykoszyn – remont łaźni + wsparcie finansowe klubu</a:t>
            </a:r>
          </a:p>
          <a:p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tanka w Skałce</a:t>
            </a:r>
          </a:p>
          <a:p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miar prędkości Skałka </a:t>
            </a:r>
          </a:p>
          <a:p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mnik w Gałęzicach </a:t>
            </a:r>
          </a:p>
          <a:p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zkoła Podstawowa w Łosieniu - szereg prac ziemnych, wykopanie starych fundamentów, dostarczanie kruszywa </a:t>
            </a:r>
          </a:p>
          <a:p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rogi - regularne remontowanie i dostarczanie kruszywa na lokalne drogi</a:t>
            </a:r>
          </a:p>
          <a:p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inansowanie/ wspieranie finansowe wydarzeń o charakterze lokalnym (wydarzenia sportowe, kulturalne i integracyjne)</a:t>
            </a:r>
          </a:p>
        </p:txBody>
      </p:sp>
    </p:spTree>
    <p:extLst>
      <p:ext uri="{BB962C8B-B14F-4D97-AF65-F5344CB8AC3E}">
        <p14:creationId xmlns:p14="http://schemas.microsoft.com/office/powerpoint/2010/main" val="19085326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9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1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3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Obraz 4" descr="Obraz zawierający tekst, znak, zewnętrzne, niebo&#10;&#10;Opis wygenerowany automatycznie">
            <a:extLst>
              <a:ext uri="{FF2B5EF4-FFF2-40B4-BE49-F238E27FC236}">
                <a16:creationId xmlns:a16="http://schemas.microsoft.com/office/drawing/2014/main" id="{1E51525B-3D38-408B-9398-C9CB8E6DAC45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7068" b="20229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53621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tekst, trawa, znak, zielony&#10;&#10;Opis wygenerowany automatycznie">
            <a:extLst>
              <a:ext uri="{FF2B5EF4-FFF2-40B4-BE49-F238E27FC236}">
                <a16:creationId xmlns:a16="http://schemas.microsoft.com/office/drawing/2014/main" id="{F8D559C1-C7E3-484F-98E5-C661DF709228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t="27353" b="19944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0009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tekst, niebo, zewnętrzne, znak&#10;&#10;Opis wygenerowany automatycznie">
            <a:extLst>
              <a:ext uri="{FF2B5EF4-FFF2-40B4-BE49-F238E27FC236}">
                <a16:creationId xmlns:a16="http://schemas.microsoft.com/office/drawing/2014/main" id="{90FC338A-29F8-42D6-A299-02BE309A904D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t="19693" b="27604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2956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tekst, trawa, niebo, zewnętrzne&#10;&#10;Opis wygenerowany automatycznie">
            <a:extLst>
              <a:ext uri="{FF2B5EF4-FFF2-40B4-BE49-F238E27FC236}">
                <a16:creationId xmlns:a16="http://schemas.microsoft.com/office/drawing/2014/main" id="{557CF66C-C127-4009-91C4-134DF7CD6F11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t="21261" b="26037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09832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2" name="Rectangle 31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tekst, drzewo, zewnętrzne, znak&#10;&#10;Opis wygenerowany automatycznie">
            <a:extLst>
              <a:ext uri="{FF2B5EF4-FFF2-40B4-BE49-F238E27FC236}">
                <a16:creationId xmlns:a16="http://schemas.microsoft.com/office/drawing/2014/main" id="{493290C6-52A1-4CBC-9B3D-06DDD2444366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t="28224" b="19073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085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tekst, zewnętrzne, drzewo, trawa&#10;&#10;Opis wygenerowany automatycznie">
            <a:extLst>
              <a:ext uri="{FF2B5EF4-FFF2-40B4-BE49-F238E27FC236}">
                <a16:creationId xmlns:a16="http://schemas.microsoft.com/office/drawing/2014/main" id="{924BF600-B69E-489D-859F-726FE7CC2B9E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tretch/>
        </p:blipFill>
        <p:spPr>
          <a:xfrm>
            <a:off x="3124200" y="457200"/>
            <a:ext cx="5943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4888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9" name="Rectangle 11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3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15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tekst, zewnętrzne, niebo, ciężarówka&#10;&#10;Opis wygenerowany automatycznie">
            <a:extLst>
              <a:ext uri="{FF2B5EF4-FFF2-40B4-BE49-F238E27FC236}">
                <a16:creationId xmlns:a16="http://schemas.microsoft.com/office/drawing/2014/main" id="{AC1AD6B8-C67C-4F3C-ACFC-8682E4825EFC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tretch/>
        </p:blipFill>
        <p:spPr>
          <a:xfrm>
            <a:off x="3124200" y="457200"/>
            <a:ext cx="5943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6784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podłoże, zewnętrzne, drzewo, trawa&#10;&#10;Opis wygenerowany automatycznie">
            <a:extLst>
              <a:ext uri="{FF2B5EF4-FFF2-40B4-BE49-F238E27FC236}">
                <a16:creationId xmlns:a16="http://schemas.microsoft.com/office/drawing/2014/main" id="{4F17FF70-33FD-4CD7-BA62-DDCF676DB6F2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b="29730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59994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1" name="Rectangle 20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zewnętrzne, niebo, droga, dom&#10;&#10;Opis wygenerowany automatycznie">
            <a:extLst>
              <a:ext uri="{FF2B5EF4-FFF2-40B4-BE49-F238E27FC236}">
                <a16:creationId xmlns:a16="http://schemas.microsoft.com/office/drawing/2014/main" id="{F5B17C73-A451-47A0-9909-3A0F72640D29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t="32237" b="11513"/>
          <a:stretch/>
        </p:blipFill>
        <p:spPr>
          <a:xfrm>
            <a:off x="812800" y="457200"/>
            <a:ext cx="105664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1108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A957B12F-34E3-4964-94EA-6B754ED0CF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074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A957B12F-34E3-4964-94EA-6B754ED0CF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98911B69-0BD6-455A-8DCE-9414A7D111C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pl-PL" dirty="0"/>
              <a:t>Spotkanie Rady Dialogu Społecznego</a:t>
            </a:r>
            <a:br>
              <a:rPr lang="pl-PL" dirty="0"/>
            </a:br>
            <a:r>
              <a:rPr lang="pl-PL" dirty="0"/>
              <a:t>26.11.2021 r.</a:t>
            </a:r>
            <a:endParaRPr lang="fi-FI" dirty="0"/>
          </a:p>
        </p:txBody>
      </p:sp>
      <p:pic>
        <p:nvPicPr>
          <p:cNvPr id="8" name="Symbol zastępczy obrazu 7" descr="Obraz zawierający przyroda, zewnętrzne, dolina, góra&#10;&#10;Opis wygenerowany automatycznie">
            <a:extLst>
              <a:ext uri="{FF2B5EF4-FFF2-40B4-BE49-F238E27FC236}">
                <a16:creationId xmlns:a16="http://schemas.microsoft.com/office/drawing/2014/main" id="{57D449E7-92D8-49B3-B635-BBC062C87259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5"/>
          <a:srcRect t="19117" b="1911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3115130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wewnątrz, ściana, podłoże, sufit&#10;&#10;Opis wygenerowany automatycznie">
            <a:extLst>
              <a:ext uri="{FF2B5EF4-FFF2-40B4-BE49-F238E27FC236}">
                <a16:creationId xmlns:a16="http://schemas.microsoft.com/office/drawing/2014/main" id="{BB80175E-F10C-4C89-8C86-FBA9B12BECD2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t="15308" b="14422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58055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osoba&#10;&#10;Opis wygenerowany automatycznie">
            <a:extLst>
              <a:ext uri="{FF2B5EF4-FFF2-40B4-BE49-F238E27FC236}">
                <a16:creationId xmlns:a16="http://schemas.microsoft.com/office/drawing/2014/main" id="{FED88BED-8898-46B0-B32C-A5BBD5515008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t="16636" b="4408"/>
          <a:stretch/>
        </p:blipFill>
        <p:spPr>
          <a:xfrm>
            <a:off x="457200" y="457200"/>
            <a:ext cx="11277600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666616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9" name="Rectangle 48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Symbol zastępczy zawartości 6" descr="Obraz zawierający tekst, osoba, podłoże, wewnątrz&#10;&#10;Opis wygenerowany automatycznie">
            <a:extLst>
              <a:ext uri="{FF2B5EF4-FFF2-40B4-BE49-F238E27FC236}">
                <a16:creationId xmlns:a16="http://schemas.microsoft.com/office/drawing/2014/main" id="{4ADC7AA3-795D-4A38-B0D6-751B5A9C07F2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2"/>
          <a:srcRect t="1861" r="1" b="12095"/>
          <a:stretch/>
        </p:blipFill>
        <p:spPr>
          <a:xfrm>
            <a:off x="921799" y="457200"/>
            <a:ext cx="10348401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218595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Symbol zastępczy zawartości 6" descr="Obraz zawierający tekst, zielony, zewnętrzne, podłoże&#10;&#10;Opis wygenerowany automatycznie">
            <a:extLst>
              <a:ext uri="{FF2B5EF4-FFF2-40B4-BE49-F238E27FC236}">
                <a16:creationId xmlns:a16="http://schemas.microsoft.com/office/drawing/2014/main" id="{C873753D-EE00-4AA4-A07A-8DFA828EF05F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/>
          <a:stretch>
            <a:fillRect/>
          </a:stretch>
        </p:blipFill>
        <p:spPr>
          <a:xfrm>
            <a:off x="2636043" y="0"/>
            <a:ext cx="6857999" cy="6857999"/>
          </a:xfrm>
        </p:spPr>
      </p:pic>
    </p:spTree>
    <p:extLst>
      <p:ext uri="{BB962C8B-B14F-4D97-AF65-F5344CB8AC3E}">
        <p14:creationId xmlns:p14="http://schemas.microsoft.com/office/powerpoint/2010/main" val="38076924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E21BD320-FCED-42A6-B26B-B602F7868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E21BD320-FCED-42A6-B26B-B602F7868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0C66B3-1A93-440B-BEEA-EF0BC8C73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Projekty, które wpłynęły do RDS w 2021:</a:t>
            </a:r>
            <a:br>
              <a:rPr lang="pl-PL" dirty="0"/>
            </a:br>
            <a:r>
              <a:rPr lang="pl-PL" dirty="0"/>
              <a:t>Podpolichno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6923C2-E93A-457E-B1C2-2177A689F74B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 fontScale="92500" lnSpcReduction="20000"/>
          </a:bodyPr>
          <a:lstStyle/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zpłatne przekazanie kruszywa frakcji 0/31,5 mm wraz z transportem i rozplantowaniem ładowarką na drodze wiejskiej nr 697 o długości ok 1 km pomiędzy miejscowościami 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rężów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a Miedzianka (do Muzealnej Izby Górnictwa Kruszcowego). Uzależnione od uzyskania zgód administracyjnych.</a:t>
            </a: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zpłatne przekazanie kruszywa frakcji 0/31,5 mm wraz z transportem i rozplantowaniem ładowarką na drodze wiejskiej nr 670/1 o długości ok 0,8 km przebiegającej od miejscowości Podpolichno do drogi powiatowej nr 0275T Chęciny – Miedzianka. Uzależnione od uzyskania zgód administracyjnych.</a:t>
            </a: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sparcie finansowe przy budowie sieci energetycznej od wsi 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rężów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o drogi powiatowej nr 0275T, która przyczyni się do poprawy widoczności i bezpieczeństwa dla mieszkańców dochodzących przez las w porach wieczornych i wczesnorannych na przystanek autobusowy. Budowa ww. sieci energetycznej pozwoli również oświetlić skrzyżowanie drogi powiatowej nr 0275T z drogą Podpolichno – </a:t>
            </a:r>
            <a:r>
              <a:rPr lang="pl-PL" sz="18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harężów</a:t>
            </a: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raz przystanek autobusowy.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#SerceOdNordkalk - pojemnik na plastikowe nakrętki dla szkoły w Polichnie.</a:t>
            </a:r>
          </a:p>
          <a:p>
            <a:pPr lvl="0"/>
            <a:endParaRPr lang="fi-FI" dirty="0"/>
          </a:p>
        </p:txBody>
      </p:sp>
      <p:sp>
        <p:nvSpPr>
          <p:cNvPr id="10" name="Symbol zastępczy tekstu 5">
            <a:extLst>
              <a:ext uri="{FF2B5EF4-FFF2-40B4-BE49-F238E27FC236}">
                <a16:creationId xmlns:a16="http://schemas.microsoft.com/office/drawing/2014/main" id="{87746DEE-0692-4052-A04D-EBC558347B9F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10030800" y="2519363"/>
            <a:ext cx="1799999" cy="3611807"/>
          </a:xfrm>
        </p:spPr>
        <p:txBody>
          <a:bodyPr/>
          <a:lstStyle/>
          <a:p>
            <a:r>
              <a:rPr lang="pl-PL" dirty="0"/>
              <a:t>Podpolichn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086815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E21BD320-FCED-42A6-B26B-B602F7868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E21BD320-FCED-42A6-B26B-B602F7868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0C66B3-1A93-440B-BEEA-EF0BC8C73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Projekty, które wpłynęły do RDS w 2021:</a:t>
            </a:r>
            <a:br>
              <a:rPr lang="pl-PL" dirty="0"/>
            </a:br>
            <a:r>
              <a:rPr lang="pl-PL" dirty="0"/>
              <a:t>Gałęzic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6923C2-E93A-457E-B1C2-2177A689F74B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/>
          </a:bodyPr>
          <a:lstStyle/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finansowanie w zakresie budowy dróg asfaltowych w Gałęzicach, bądź deklarację o udostępnienie kruszywa wraz z ciężkim sprzętem na te drogi. Deklaracje dla Wójta Gminy, iż to kruszywo ma być przeznaczone dla miejscowości Gałęzice.</a:t>
            </a: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uszywo z przeznaczeniem na naprawę dróg w miejscowości Gałęzice.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sparcie przy instalacji oświetlenia pomiędzy miejscowościami Rykoszyn i Gałęzice.</a:t>
            </a:r>
          </a:p>
          <a:p>
            <a:endParaRPr lang="pl-PL" dirty="0"/>
          </a:p>
        </p:txBody>
      </p:sp>
      <p:sp>
        <p:nvSpPr>
          <p:cNvPr id="10" name="Symbol zastępczy tekstu 5">
            <a:extLst>
              <a:ext uri="{FF2B5EF4-FFF2-40B4-BE49-F238E27FC236}">
                <a16:creationId xmlns:a16="http://schemas.microsoft.com/office/drawing/2014/main" id="{87746DEE-0692-4052-A04D-EBC558347B9F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10030800" y="2519363"/>
            <a:ext cx="1799999" cy="3611807"/>
          </a:xfrm>
        </p:spPr>
        <p:txBody>
          <a:bodyPr/>
          <a:lstStyle/>
          <a:p>
            <a:r>
              <a:rPr lang="pl-PL" dirty="0"/>
              <a:t>Gałęzi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92725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E21BD320-FCED-42A6-B26B-B602F7868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E21BD320-FCED-42A6-B26B-B602F7868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0C66B3-1A93-440B-BEEA-EF0BC8C73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Projekty, które wpłynęły do RDS w 2021:</a:t>
            </a:r>
            <a:br>
              <a:rPr lang="pl-PL" dirty="0"/>
            </a:br>
            <a:r>
              <a:rPr lang="pl-PL" dirty="0"/>
              <a:t>Rykoszyn</a:t>
            </a:r>
          </a:p>
        </p:txBody>
      </p:sp>
      <p:sp>
        <p:nvSpPr>
          <p:cNvPr id="6" name="Symbol zastępczy tekstu 5">
            <a:extLst>
              <a:ext uri="{FF2B5EF4-FFF2-40B4-BE49-F238E27FC236}">
                <a16:creationId xmlns:a16="http://schemas.microsoft.com/office/drawing/2014/main" id="{00A2888B-BA6D-4653-AA68-2ADB984379B3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l-PL" dirty="0"/>
              <a:t>Rykoszyn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6923C2-E93A-457E-B1C2-2177A689F74B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 fontScale="92500" lnSpcReduction="10000"/>
          </a:bodyPr>
          <a:lstStyle/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uszywo na utwardzenie dróg w Rykoszynie:</a:t>
            </a:r>
          </a:p>
          <a:p>
            <a:pPr marL="457200" algn="just">
              <a:lnSpc>
                <a:spcPct val="107000"/>
              </a:lnSpc>
              <a:spcAft>
                <a:spcPts val="800"/>
              </a:spcAft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ul. Makowa , dojazd do ul. Świętokrzyskiej - 150t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ul. Urzędnicza - 200t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ul. Ziemska - 200t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ycie i zamiatanie chodnika w Rykoszynie: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ul. Świętokrzyska od miejscowości Skałka do posesji 99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ycie i zamiatanie jezdni: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 ul. Świętokrzyska do nr 83 od Skałki 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ac zabaw Rykoszyn/ konieczność zrobienia nowego projektu.</a:t>
            </a:r>
          </a:p>
        </p:txBody>
      </p:sp>
    </p:spTree>
    <p:extLst>
      <p:ext uri="{BB962C8B-B14F-4D97-AF65-F5344CB8AC3E}">
        <p14:creationId xmlns:p14="http://schemas.microsoft.com/office/powerpoint/2010/main" val="31261349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E21BD320-FCED-42A6-B26B-B602F7868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E21BD320-FCED-42A6-B26B-B602F7868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0C66B3-1A93-440B-BEEA-EF0BC8C73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Projekty, które wpłynęły do RDS w 2021:</a:t>
            </a:r>
            <a:br>
              <a:rPr lang="pl-PL" dirty="0"/>
            </a:br>
            <a:r>
              <a:rPr lang="pl-PL" dirty="0"/>
              <a:t>Zajączków</a:t>
            </a:r>
          </a:p>
        </p:txBody>
      </p:sp>
      <p:sp>
        <p:nvSpPr>
          <p:cNvPr id="6" name="Symbol zastępczy tekstu 5">
            <a:extLst>
              <a:ext uri="{FF2B5EF4-FFF2-40B4-BE49-F238E27FC236}">
                <a16:creationId xmlns:a16="http://schemas.microsoft.com/office/drawing/2014/main" id="{5FC1DE16-2900-4913-A476-C3C10CC84E93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l-PL" dirty="0"/>
              <a:t>Zajączków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6923C2-E93A-457E-B1C2-2177A689F74B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/>
          </a:bodyPr>
          <a:lstStyle/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mont drogi dojazdowej do działek o numerze 23 w Zajączkowie która jest w złym stanie o długości ok.800 </a:t>
            </a:r>
            <a:r>
              <a:rPr lang="pl-PL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 (przekazanie kruszywa o frakcji 0/31,5 wraz z transportem oraz rozplantowaniem).</a:t>
            </a:r>
            <a:endParaRPr lang="pl-PL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mont drogi nr 468 - pismo zostało złożone do Dyrektora.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tanka - w trakcie realizacji.</a:t>
            </a:r>
          </a:p>
        </p:txBody>
      </p:sp>
    </p:spTree>
    <p:extLst>
      <p:ext uri="{BB962C8B-B14F-4D97-AF65-F5344CB8AC3E}">
        <p14:creationId xmlns:p14="http://schemas.microsoft.com/office/powerpoint/2010/main" val="225477632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E21BD320-FCED-42A6-B26B-B602F7868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E21BD320-FCED-42A6-B26B-B602F7868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0C66B3-1A93-440B-BEEA-EF0BC8C73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Projekty, które wpłynęły do RDS w 2021:</a:t>
            </a:r>
            <a:br>
              <a:rPr lang="pl-PL" dirty="0"/>
            </a:br>
            <a:r>
              <a:rPr lang="pl-PL" dirty="0"/>
              <a:t>Bławatków</a:t>
            </a:r>
          </a:p>
        </p:txBody>
      </p:sp>
      <p:sp>
        <p:nvSpPr>
          <p:cNvPr id="6" name="Symbol zastępczy tekstu 5">
            <a:extLst>
              <a:ext uri="{FF2B5EF4-FFF2-40B4-BE49-F238E27FC236}">
                <a16:creationId xmlns:a16="http://schemas.microsoft.com/office/drawing/2014/main" id="{835A7564-6B22-49A7-99C1-6E0F2D2DBBD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l-PL" dirty="0"/>
              <a:t>Bławatków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6923C2-E93A-457E-B1C2-2177A689F74B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/>
          </a:bodyPr>
          <a:lstStyle/>
          <a:p>
            <a:r>
              <a:rPr lang="pl-PL" dirty="0"/>
              <a:t>Nie wpłynął żaden projekt.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611925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E21BD320-FCED-42A6-B26B-B602F7868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E21BD320-FCED-42A6-B26B-B602F7868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0C66B3-1A93-440B-BEEA-EF0BC8C73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Projekty, które wpłynęły do RDS w 2021:</a:t>
            </a:r>
            <a:br>
              <a:rPr lang="pl-PL" dirty="0"/>
            </a:br>
            <a:r>
              <a:rPr lang="pl-PL" dirty="0"/>
              <a:t>Skałka</a:t>
            </a:r>
          </a:p>
        </p:txBody>
      </p:sp>
      <p:sp>
        <p:nvSpPr>
          <p:cNvPr id="6" name="Symbol zastępczy tekstu 5">
            <a:extLst>
              <a:ext uri="{FF2B5EF4-FFF2-40B4-BE49-F238E27FC236}">
                <a16:creationId xmlns:a16="http://schemas.microsoft.com/office/drawing/2014/main" id="{835A7564-6B22-49A7-99C1-6E0F2D2DBBDF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r>
              <a:rPr lang="pl-PL" dirty="0"/>
              <a:t>Skałka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6923C2-E93A-457E-B1C2-2177A689F74B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/>
          </a:bodyPr>
          <a:lstStyle/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oły i ławy do altany.        </a:t>
            </a:r>
          </a:p>
          <a:p>
            <a:pPr marL="342900" lvl="0" indent="-342900" algn="just">
              <a:lnSpc>
                <a:spcPct val="107000"/>
              </a:lnSpc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łownia zewnętrzna.</a:t>
            </a: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pl-PL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alizacja projektów z poprzednich lat (plac zabaw, przystanek).</a:t>
            </a:r>
          </a:p>
        </p:txBody>
      </p:sp>
    </p:spTree>
    <p:extLst>
      <p:ext uri="{BB962C8B-B14F-4D97-AF65-F5344CB8AC3E}">
        <p14:creationId xmlns:p14="http://schemas.microsoft.com/office/powerpoint/2010/main" val="16255002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095304F3-135E-4788-9AB6-108BB80847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Agenda</a:t>
            </a:r>
            <a:endParaRPr lang="en-US" dirty="0"/>
          </a:p>
        </p:txBody>
      </p:sp>
      <p:sp>
        <p:nvSpPr>
          <p:cNvPr id="7" name="Symbol zastępczy zawartości 6">
            <a:extLst>
              <a:ext uri="{FF2B5EF4-FFF2-40B4-BE49-F238E27FC236}">
                <a16:creationId xmlns:a16="http://schemas.microsoft.com/office/drawing/2014/main" id="{9E1EA2D3-D4AE-460D-A233-58970EA8E757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/>
          </a:bodyPr>
          <a:lstStyle/>
          <a:p>
            <a:pPr lvl="0"/>
            <a:r>
              <a:rPr lang="pl-PL" dirty="0"/>
              <a:t>Powitanie członków Rady Dialogu Społecznego;</a:t>
            </a:r>
            <a:endParaRPr lang="en-US" dirty="0"/>
          </a:p>
          <a:p>
            <a:pPr lvl="0"/>
            <a:r>
              <a:rPr lang="pl-PL" dirty="0"/>
              <a:t>Przypomnienie zasad funkcjonowania Rady Dialogu Społecznego;</a:t>
            </a:r>
            <a:endParaRPr lang="en-US" dirty="0"/>
          </a:p>
          <a:p>
            <a:pPr lvl="0"/>
            <a:r>
              <a:rPr lang="pl-PL" dirty="0"/>
              <a:t>Status projektów realizowanych w ubiegłym roku;</a:t>
            </a:r>
            <a:endParaRPr lang="en-US" dirty="0"/>
          </a:p>
          <a:p>
            <a:pPr lvl="0"/>
            <a:r>
              <a:rPr lang="pl-PL" dirty="0"/>
              <a:t>Lista projektów, które wpłynęły do Rady Dialogu Społecznego w tym roku;</a:t>
            </a:r>
            <a:endParaRPr lang="en-US" dirty="0"/>
          </a:p>
          <a:p>
            <a:pPr lvl="0"/>
            <a:r>
              <a:rPr lang="pl-PL" dirty="0"/>
              <a:t>Dyskusja;</a:t>
            </a:r>
            <a:endParaRPr lang="en-US" dirty="0"/>
          </a:p>
          <a:p>
            <a:pPr lvl="0"/>
            <a:r>
              <a:rPr lang="pl-PL" dirty="0"/>
              <a:t>Głosowanie nad projektami;</a:t>
            </a:r>
            <a:endParaRPr lang="en-US" dirty="0"/>
          </a:p>
          <a:p>
            <a:pPr lvl="0"/>
            <a:r>
              <a:rPr lang="pl-PL" dirty="0"/>
              <a:t>Ogłoszenie projektów zaakceptowanych przez Radę Dialogu Społecznego;</a:t>
            </a:r>
            <a:endParaRPr lang="en-US" dirty="0"/>
          </a:p>
          <a:p>
            <a:pPr lvl="0"/>
            <a:r>
              <a:rPr lang="pl-PL" dirty="0"/>
              <a:t>Wolne wnioski/pytania;</a:t>
            </a:r>
          </a:p>
          <a:p>
            <a:pPr lvl="0"/>
            <a:r>
              <a:rPr lang="pl-PL" dirty="0"/>
              <a:t>Podziękowanie za spotkanie.</a:t>
            </a:r>
            <a:endParaRPr lang="en-US" dirty="0"/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36490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>
            <a:extLst>
              <a:ext uri="{FF2B5EF4-FFF2-40B4-BE49-F238E27FC236}">
                <a16:creationId xmlns:a16="http://schemas.microsoft.com/office/drawing/2014/main" id="{5360FD2B-FC19-4270-8646-6F763889B5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Dyskusja i głosowanie nad projektami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037807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>
            <a:extLst>
              <a:ext uri="{FF2B5EF4-FFF2-40B4-BE49-F238E27FC236}">
                <a16:creationId xmlns:a16="http://schemas.microsoft.com/office/drawing/2014/main" id="{C6C82C44-D3B2-4755-A64E-3538B1145A8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l-PL" dirty="0"/>
              <a:t>Kolejne spotkanie RDS</a:t>
            </a:r>
            <a:br>
              <a:rPr lang="pl-PL" dirty="0"/>
            </a:br>
            <a:r>
              <a:rPr lang="pl-PL" dirty="0"/>
              <a:t>wiosna 2022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46250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1" hidden="1">
            <a:extLst>
              <a:ext uri="{FF2B5EF4-FFF2-40B4-BE49-F238E27FC236}">
                <a16:creationId xmlns:a16="http://schemas.microsoft.com/office/drawing/2014/main" id="{5CC8403A-CB7F-4CE3-9F82-7236B80AD8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637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2" name="Obiekt 1" hidden="1">
                        <a:extLst>
                          <a:ext uri="{FF2B5EF4-FFF2-40B4-BE49-F238E27FC236}">
                            <a16:creationId xmlns:a16="http://schemas.microsoft.com/office/drawing/2014/main" id="{5CC8403A-CB7F-4CE3-9F82-7236B80AD8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5" name="Google Shape;375;p17"/>
          <p:cNvSpPr txBox="1">
            <a:spLocks noGrp="1"/>
          </p:cNvSpPr>
          <p:nvPr>
            <p:ph type="ctrTitle"/>
          </p:nvPr>
        </p:nvSpPr>
        <p:spPr>
          <a:xfrm>
            <a:off x="838800" y="1535195"/>
            <a:ext cx="10473634" cy="752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60"/>
              <a:buFont typeface="Trebuchet MS"/>
              <a:buNone/>
            </a:pPr>
            <a:r>
              <a:rPr lang="pl-PL" sz="4860" dirty="0"/>
              <a:t>Dziękujemy</a:t>
            </a:r>
            <a:endParaRPr dirty="0"/>
          </a:p>
        </p:txBody>
      </p:sp>
      <p:sp>
        <p:nvSpPr>
          <p:cNvPr id="376" name="Google Shape;376;p17"/>
          <p:cNvSpPr txBox="1">
            <a:spLocks noGrp="1"/>
          </p:cNvSpPr>
          <p:nvPr>
            <p:ph type="subTitle" idx="1"/>
          </p:nvPr>
        </p:nvSpPr>
        <p:spPr>
          <a:xfrm>
            <a:off x="838800" y="2457819"/>
            <a:ext cx="10473634" cy="4320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pl-PL" dirty="0"/>
              <a:t>Kontakt: Dominik Budny (Specjalista ds. komunikacji) </a:t>
            </a:r>
            <a:endParaRPr dirty="0"/>
          </a:p>
        </p:txBody>
      </p:sp>
      <p:sp>
        <p:nvSpPr>
          <p:cNvPr id="377" name="Google Shape;377;p17"/>
          <p:cNvSpPr txBox="1">
            <a:spLocks noGrp="1"/>
          </p:cNvSpPr>
          <p:nvPr>
            <p:ph type="body" idx="2"/>
          </p:nvPr>
        </p:nvSpPr>
        <p:spPr>
          <a:xfrm>
            <a:off x="838800" y="2958047"/>
            <a:ext cx="10473634" cy="1798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pl-PL" dirty="0" err="1"/>
              <a:t>dominik.budny</a:t>
            </a:r>
            <a:r>
              <a:rPr lang="en-FI" dirty="0"/>
              <a:t>@nordkalk.com</a:t>
            </a:r>
            <a:br>
              <a:rPr lang="en-FI" dirty="0"/>
            </a:br>
            <a:br>
              <a:rPr lang="en-FI" dirty="0"/>
            </a:br>
            <a:br>
              <a:rPr lang="en-FI" dirty="0"/>
            </a:br>
            <a:r>
              <a:rPr lang="en-FI" dirty="0"/>
              <a:t>www.nordkalk.</a:t>
            </a:r>
            <a:r>
              <a:rPr lang="pl-PL" dirty="0" err="1"/>
              <a:t>pl</a:t>
            </a: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</a:pP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</a:pPr>
            <a:endParaRPr dirty="0"/>
          </a:p>
          <a:p>
            <a:pPr marL="0" lvl="0" indent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</a:pPr>
            <a:endParaRPr dirty="0"/>
          </a:p>
        </p:txBody>
      </p:sp>
      <p:sp>
        <p:nvSpPr>
          <p:cNvPr id="378" name="Google Shape;378;p17"/>
          <p:cNvSpPr txBox="1">
            <a:spLocks noGrp="1"/>
          </p:cNvSpPr>
          <p:nvPr>
            <p:ph type="body" idx="3"/>
          </p:nvPr>
        </p:nvSpPr>
        <p:spPr>
          <a:xfrm>
            <a:off x="838800" y="4756417"/>
            <a:ext cx="10473634" cy="8637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en-FI" dirty="0"/>
              <a:t>#</a:t>
            </a:r>
            <a:r>
              <a:rPr lang="fi-FI" dirty="0" err="1"/>
              <a:t>lifestone</a:t>
            </a:r>
            <a:r>
              <a:rPr lang="fi-FI" dirty="0"/>
              <a:t> #limewisesolutions </a:t>
            </a:r>
            <a:endParaRPr dirty="0"/>
          </a:p>
        </p:txBody>
      </p:sp>
      <p:pic>
        <p:nvPicPr>
          <p:cNvPr id="6" name="Kuva 9">
            <a:extLst>
              <a:ext uri="{FF2B5EF4-FFF2-40B4-BE49-F238E27FC236}">
                <a16:creationId xmlns:a16="http://schemas.microsoft.com/office/drawing/2014/main" id="{1523176C-B7F9-431C-9952-2F9A5598A9E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046" y="5921619"/>
            <a:ext cx="493559" cy="493559"/>
          </a:xfrm>
          <a:prstGeom prst="rect">
            <a:avLst/>
          </a:prstGeom>
        </p:spPr>
      </p:pic>
      <p:pic>
        <p:nvPicPr>
          <p:cNvPr id="7" name="Kuva 11">
            <a:extLst>
              <a:ext uri="{FF2B5EF4-FFF2-40B4-BE49-F238E27FC236}">
                <a16:creationId xmlns:a16="http://schemas.microsoft.com/office/drawing/2014/main" id="{35BD3D45-4B07-4660-8258-FC5F8258B13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105" y="5930120"/>
            <a:ext cx="493558" cy="493558"/>
          </a:xfrm>
          <a:prstGeom prst="rect">
            <a:avLst/>
          </a:prstGeom>
        </p:spPr>
      </p:pic>
      <p:pic>
        <p:nvPicPr>
          <p:cNvPr id="8" name="Kuva 13">
            <a:extLst>
              <a:ext uri="{FF2B5EF4-FFF2-40B4-BE49-F238E27FC236}">
                <a16:creationId xmlns:a16="http://schemas.microsoft.com/office/drawing/2014/main" id="{EFFBBDBD-705F-4E17-8946-D4C20E1C0A01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2277" y="5930120"/>
            <a:ext cx="493558" cy="493558"/>
          </a:xfrm>
          <a:prstGeom prst="rect">
            <a:avLst/>
          </a:prstGeom>
        </p:spPr>
      </p:pic>
      <p:pic>
        <p:nvPicPr>
          <p:cNvPr id="9" name="Kuva 15">
            <a:extLst>
              <a:ext uri="{FF2B5EF4-FFF2-40B4-BE49-F238E27FC236}">
                <a16:creationId xmlns:a16="http://schemas.microsoft.com/office/drawing/2014/main" id="{E1C520FB-9B7B-44E1-9728-9C9064E47CF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4449" y="5921619"/>
            <a:ext cx="709628" cy="492007"/>
          </a:xfrm>
          <a:prstGeom prst="rect">
            <a:avLst/>
          </a:prstGeom>
        </p:spPr>
      </p:pic>
      <p:pic>
        <p:nvPicPr>
          <p:cNvPr id="10" name="Kuva 18">
            <a:extLst>
              <a:ext uri="{FF2B5EF4-FFF2-40B4-BE49-F238E27FC236}">
                <a16:creationId xmlns:a16="http://schemas.microsoft.com/office/drawing/2014/main" id="{8A812DC5-E95B-4693-BF94-E96AB3879F8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3418" y="5898981"/>
            <a:ext cx="557810" cy="557810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ymbol zastępczy obrazu 8" descr="Obraz zawierający trawa, zewnętrzne, drzewo, przyroda&#10;&#10;Opis wygenerowany automatycznie">
            <a:extLst>
              <a:ext uri="{FF2B5EF4-FFF2-40B4-BE49-F238E27FC236}">
                <a16:creationId xmlns:a16="http://schemas.microsoft.com/office/drawing/2014/main" id="{E4F37B30-A34E-4752-8E2E-0B53FD7388D6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/>
          <a:srcRect l="22448" r="22448"/>
          <a:stretch>
            <a:fillRect/>
          </a:stretch>
        </p:blipFill>
        <p:spPr/>
      </p:pic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E21BD320-FCED-42A6-B26B-B602F7868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E21BD320-FCED-42A6-B26B-B602F7868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80C66B3-1A93-440B-BEEA-EF0BC8C734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Zasady prowadzenia dialogu społecznego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B458ACA-9025-43CD-80CD-B3FA81B16281}"/>
              </a:ext>
            </a:extLst>
          </p:cNvPr>
          <p:cNvSpPr>
            <a:spLocks noGrp="1"/>
          </p:cNvSpPr>
          <p:nvPr>
            <p:ph type="pic" idx="3"/>
          </p:nvPr>
        </p:nvSpPr>
        <p:spPr/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156923C2-E93A-457E-B1C2-2177A689F74B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endParaRPr lang="pl-PL" dirty="0"/>
          </a:p>
          <a:p>
            <a:pPr marL="0" indent="0">
              <a:buNone/>
            </a:pPr>
            <a:r>
              <a:rPr lang="pl-PL" sz="2400" dirty="0"/>
              <a:t>Dzisiejsza sesja ma na celu przypomnienie zasad dialogu społecznego, wysłuchanie potrzeb oraz ocenę i wybór do realizacji projektów na rok 2022 r.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963362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29046812-5755-47DE-8142-A19A182D3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6486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29046812-5755-47DE-8142-A19A182D3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637A0D72-3967-479D-A225-3BCFDBE8450A}"/>
              </a:ext>
            </a:extLst>
          </p:cNvPr>
          <p:cNvSpPr txBox="1">
            <a:spLocks/>
          </p:cNvSpPr>
          <p:nvPr/>
        </p:nvSpPr>
        <p:spPr>
          <a:xfrm>
            <a:off x="839788" y="405829"/>
            <a:ext cx="7920000" cy="16002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D9359"/>
              </a:buClr>
              <a:buSzPts val="3200"/>
              <a:buFont typeface="Trebuchet MS"/>
              <a:buNone/>
              <a:defRPr sz="3200" b="0" i="0" u="none" strike="noStrike" cap="none">
                <a:solidFill>
                  <a:srgbClr val="2D9359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pl-PL"/>
              <a:t>Zasady prowadzenia dialogu społecznego</a:t>
            </a:r>
            <a:endParaRPr lang="pl-PL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AC4186B-FFE3-43DB-B104-6045F64EAB9D}"/>
              </a:ext>
            </a:extLst>
          </p:cNvPr>
          <p:cNvSpPr txBox="1">
            <a:spLocks/>
          </p:cNvSpPr>
          <p:nvPr/>
        </p:nvSpPr>
        <p:spPr>
          <a:xfrm>
            <a:off x="839789" y="2022485"/>
            <a:ext cx="7920000" cy="4326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266400" marR="0" lvl="0" indent="-2664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tx1"/>
                </a:solidFill>
                <a:latin typeface="Trebuchet MS"/>
                <a:ea typeface="Trebuchet MS"/>
                <a:cs typeface="Trebuchet MS"/>
                <a:sym typeface="Trebuchet MS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tx1"/>
                </a:solidFill>
                <a:latin typeface="Trebuchet MS"/>
                <a:ea typeface="Trebuchet MS"/>
                <a:cs typeface="Trebuchet MS"/>
                <a:sym typeface="Trebuchet MS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tx1"/>
                </a:solidFill>
                <a:latin typeface="Trebuchet MS"/>
                <a:ea typeface="Trebuchet MS"/>
                <a:cs typeface="Trebuchet MS"/>
                <a:sym typeface="Trebuchet MS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tx1"/>
                </a:solidFill>
                <a:latin typeface="Trebuchet MS"/>
                <a:ea typeface="Trebuchet MS"/>
                <a:cs typeface="Trebuchet MS"/>
                <a:sym typeface="Trebuchet MS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94C356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tx1"/>
                </a:solidFill>
                <a:latin typeface="Trebuchet MS"/>
                <a:ea typeface="Trebuchet MS"/>
                <a:cs typeface="Trebuchet MS"/>
                <a:sym typeface="Trebuchet MS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Trebuchet MS"/>
                <a:ea typeface="Trebuchet MS"/>
                <a:cs typeface="Trebuchet MS"/>
                <a:sym typeface="Trebuchet MS"/>
              </a:defRPr>
            </a:lvl9pPr>
          </a:lstStyle>
          <a:p>
            <a:pPr marL="0" indent="0">
              <a:buFont typeface="Arial"/>
              <a:buNone/>
            </a:pPr>
            <a:r>
              <a:rPr lang="pl-PL" dirty="0"/>
              <a:t>Sesje odbywają się maksymalnie dwa razy w roku, wg określanego schematu:</a:t>
            </a:r>
          </a:p>
          <a:p>
            <a:pPr marL="0" indent="0">
              <a:buFont typeface="Arial"/>
              <a:buNone/>
            </a:pPr>
            <a:endParaRPr lang="pl-PL" dirty="0"/>
          </a:p>
          <a:p>
            <a:r>
              <a:rPr lang="pl-PL" dirty="0"/>
              <a:t>Słuchanie;</a:t>
            </a:r>
          </a:p>
          <a:p>
            <a:r>
              <a:rPr lang="pl-PL" dirty="0"/>
              <a:t>Klasyfikacja oczekiwań;</a:t>
            </a:r>
          </a:p>
          <a:p>
            <a:r>
              <a:rPr lang="pl-PL" dirty="0"/>
              <a:t>Plan działań;</a:t>
            </a:r>
          </a:p>
          <a:p>
            <a:r>
              <a:rPr lang="pl-PL" dirty="0"/>
              <a:t>Komunikowanie odpowiedzi;</a:t>
            </a:r>
          </a:p>
          <a:p>
            <a:r>
              <a:rPr lang="pl-PL" dirty="0"/>
              <a:t>Realizacja działań;</a:t>
            </a:r>
          </a:p>
          <a:p>
            <a:r>
              <a:rPr lang="pl-PL" dirty="0"/>
              <a:t>Słuchanie.</a:t>
            </a:r>
          </a:p>
          <a:p>
            <a:pPr marL="0" indent="0">
              <a:buFont typeface="Arial"/>
              <a:buNone/>
            </a:pP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17166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2" hidden="1">
            <a:extLst>
              <a:ext uri="{FF2B5EF4-FFF2-40B4-BE49-F238E27FC236}">
                <a16:creationId xmlns:a16="http://schemas.microsoft.com/office/drawing/2014/main" id="{E21BD320-FCED-42A6-B26B-B602F78684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67726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" name="Obiekt 2" hidden="1">
                        <a:extLst>
                          <a:ext uri="{FF2B5EF4-FFF2-40B4-BE49-F238E27FC236}">
                            <a16:creationId xmlns:a16="http://schemas.microsoft.com/office/drawing/2014/main" id="{E21BD320-FCED-42A6-B26B-B602F78684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Symbol zastępczy obrazu 8" descr="Obraz zawierający skała, zewnętrzne, przyroda, skaliste&#10;&#10;Opis wygenerowany automatycznie">
            <a:extLst>
              <a:ext uri="{FF2B5EF4-FFF2-40B4-BE49-F238E27FC236}">
                <a16:creationId xmlns:a16="http://schemas.microsoft.com/office/drawing/2014/main" id="{2C0EE3C8-A4DB-4D7F-B592-A2B38A3A8C7C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5"/>
          <a:srcRect l="37752" r="37752"/>
          <a:stretch>
            <a:fillRect/>
          </a:stretch>
        </p:blipFill>
        <p:spPr>
          <a:xfrm>
            <a:off x="9672000" y="0"/>
            <a:ext cx="2520000" cy="6858000"/>
          </a:xfr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B458ACA-9025-43CD-80CD-B3FA81B16281}"/>
              </a:ext>
            </a:extLst>
          </p:cNvPr>
          <p:cNvSpPr>
            <a:spLocks noGrp="1"/>
          </p:cNvSpPr>
          <p:nvPr>
            <p:ph type="pic" idx="3"/>
          </p:nvPr>
        </p:nvSpPr>
        <p:spPr/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7DD7EFCD-262C-4B07-843C-7743931157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800" y="457200"/>
            <a:ext cx="7920000" cy="1600200"/>
          </a:xfrm>
        </p:spPr>
        <p:txBody>
          <a:bodyPr vert="horz"/>
          <a:lstStyle/>
          <a:p>
            <a:r>
              <a:rPr lang="pl-PL" dirty="0"/>
              <a:t>Zasady współpracy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073EB272-704A-41C4-9FBA-5FF936F68E0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9789" y="2073856"/>
            <a:ext cx="7920000" cy="432694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dirty="0"/>
              <a:t>Warunki, które muszą być spełnione, aby </a:t>
            </a:r>
            <a:r>
              <a:rPr lang="pl-PL" dirty="0" err="1"/>
              <a:t>Nordkalk</a:t>
            </a:r>
            <a:r>
              <a:rPr lang="pl-PL" dirty="0"/>
              <a:t> mógł się zaangażować w lokalną inicjatywę:</a:t>
            </a:r>
          </a:p>
          <a:p>
            <a:r>
              <a:rPr lang="pl-PL" dirty="0"/>
              <a:t>Jest </a:t>
            </a:r>
            <a:r>
              <a:rPr lang="pl-PL" b="1" u="sng" dirty="0"/>
              <a:t>istotna dla danej społeczności </a:t>
            </a:r>
            <a:r>
              <a:rPr lang="pl-PL" dirty="0"/>
              <a:t>i został wykazany interes społeczny w jej realizacji </a:t>
            </a:r>
          </a:p>
          <a:p>
            <a:r>
              <a:rPr lang="pl-PL" dirty="0"/>
              <a:t>Jest </a:t>
            </a:r>
            <a:r>
              <a:rPr lang="pl-PL" b="1" u="sng" dirty="0"/>
              <a:t>długofalowa</a:t>
            </a:r>
            <a:r>
              <a:rPr lang="pl-PL" dirty="0"/>
              <a:t> – daje trwały efekt w społeczności</a:t>
            </a:r>
          </a:p>
          <a:p>
            <a:r>
              <a:rPr lang="pl-PL" b="1" u="sng" dirty="0"/>
              <a:t>Nie jest nastawiona na zysk</a:t>
            </a:r>
          </a:p>
          <a:p>
            <a:r>
              <a:rPr lang="pl-PL" b="1" u="sng" dirty="0"/>
              <a:t>Dotyczy minimum jednego z obszarów społecznego zaangażowania</a:t>
            </a:r>
            <a:r>
              <a:rPr lang="pl-PL" dirty="0"/>
              <a:t> </a:t>
            </a:r>
            <a:r>
              <a:rPr lang="pl-PL" dirty="0" err="1"/>
              <a:t>Nordkalk</a:t>
            </a:r>
            <a:r>
              <a:rPr lang="pl-PL" dirty="0"/>
              <a:t>:</a:t>
            </a:r>
          </a:p>
          <a:p>
            <a:pPr lvl="1"/>
            <a:r>
              <a:rPr lang="pl-PL" dirty="0"/>
              <a:t>Sport;</a:t>
            </a:r>
          </a:p>
          <a:p>
            <a:pPr lvl="1"/>
            <a:r>
              <a:rPr lang="pl-PL" dirty="0"/>
              <a:t>Edukacja;</a:t>
            </a:r>
          </a:p>
          <a:p>
            <a:pPr lvl="1"/>
            <a:r>
              <a:rPr lang="pl-PL" dirty="0"/>
              <a:t>Infrastruktura;</a:t>
            </a:r>
          </a:p>
          <a:p>
            <a:pPr lvl="1"/>
            <a:r>
              <a:rPr lang="pl-PL" dirty="0"/>
              <a:t>Ochrona środowiska;</a:t>
            </a:r>
          </a:p>
          <a:p>
            <a:pPr lvl="1"/>
            <a:r>
              <a:rPr lang="pl-PL" dirty="0"/>
              <a:t>Kultura;</a:t>
            </a:r>
          </a:p>
          <a:p>
            <a:pPr lvl="1"/>
            <a:r>
              <a:rPr lang="pl-PL" dirty="0"/>
              <a:t>Włączenie społeczne (pomoc społeczna).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175074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29046812-5755-47DE-8142-A19A182D3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29046812-5755-47DE-8142-A19A182D3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8312C0-8B35-4F4F-A618-6D7AA8665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Zasady współprac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CBF2E0D-F76A-4E89-868B-E3B68601676E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/>
          </a:bodyPr>
          <a:lstStyle/>
          <a:p>
            <a:pPr marL="0" lvl="0" indent="0">
              <a:buNone/>
            </a:pPr>
            <a:r>
              <a:rPr lang="pl-PL" dirty="0"/>
              <a:t>Zgodnie z zasadami społecznego zaangażowania </a:t>
            </a:r>
            <a:r>
              <a:rPr lang="pl-PL" dirty="0" err="1"/>
              <a:t>Nordkalk</a:t>
            </a:r>
            <a:r>
              <a:rPr lang="pl-PL" dirty="0"/>
              <a:t> priorytetowo wspiera te inicjatywy, które:</a:t>
            </a:r>
          </a:p>
          <a:p>
            <a:pPr marL="285750" lvl="0" indent="-285750"/>
            <a:r>
              <a:rPr lang="pl-PL" dirty="0"/>
              <a:t>Są zbieżne z działalnością </a:t>
            </a:r>
            <a:r>
              <a:rPr lang="pl-PL" dirty="0" err="1"/>
              <a:t>Nordkalk</a:t>
            </a:r>
            <a:r>
              <a:rPr lang="pl-PL" dirty="0"/>
              <a:t> i dają </a:t>
            </a:r>
            <a:r>
              <a:rPr lang="pl-PL" b="1" u="sng" dirty="0"/>
              <a:t>możliwość wykorzystania surowca (kamienia)</a:t>
            </a:r>
            <a:endParaRPr lang="en-US" dirty="0"/>
          </a:p>
          <a:p>
            <a:pPr marL="285750" lvl="0" indent="-285750"/>
            <a:r>
              <a:rPr lang="pl-PL" dirty="0"/>
              <a:t>Stwarzają możliwość </a:t>
            </a:r>
            <a:r>
              <a:rPr lang="pl-PL" b="1" u="sng" dirty="0"/>
              <a:t>udziału pracowników firmy</a:t>
            </a:r>
            <a:endParaRPr lang="en-US" dirty="0"/>
          </a:p>
          <a:p>
            <a:pPr marL="285750" lvl="0" indent="-285750"/>
            <a:r>
              <a:rPr lang="pl-PL" dirty="0"/>
              <a:t>Są realizowane </a:t>
            </a:r>
            <a:r>
              <a:rPr lang="pl-PL" b="1" u="sng" dirty="0"/>
              <a:t>w partnerstwie </a:t>
            </a:r>
            <a:r>
              <a:rPr lang="pl-PL" dirty="0"/>
              <a:t>z innym podmiotem (np. organizacją, grupą mieszkańców, szkołą)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195816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29046812-5755-47DE-8142-A19A182D3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29046812-5755-47DE-8142-A19A182D3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8312C0-8B35-4F4F-A618-6D7AA8665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Zasady współprac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CBF2E0D-F76A-4E89-868B-E3B68601676E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>
            <a:normAutofit/>
          </a:bodyPr>
          <a:lstStyle/>
          <a:p>
            <a:r>
              <a:rPr lang="pl-PL" dirty="0"/>
              <a:t>Inicjatywy są zgłaszane podczas sesji dialogu społecznego lub w ciągu miesiąca po sesji.</a:t>
            </a:r>
          </a:p>
          <a:p>
            <a:r>
              <a:rPr lang="pl-PL" dirty="0" err="1"/>
              <a:t>Nordkalk</a:t>
            </a:r>
            <a:r>
              <a:rPr lang="pl-PL" dirty="0"/>
              <a:t> ocenia zgłoszone inicjatywy i przygotowuje ocenę realizacji wg formularza i jeśli zaangażowanie wymaga podjęcia decyzji finansowej powyżej 3000 zł to decyzję podejmuje Rada Dialogu Społecznego.</a:t>
            </a:r>
          </a:p>
          <a:p>
            <a:r>
              <a:rPr lang="pl-PL" dirty="0"/>
              <a:t>Realizacja projektów następuje w ciągu 1-6 miesięcy od ich zatwierdzenia.</a:t>
            </a:r>
          </a:p>
          <a:p>
            <a:r>
              <a:rPr lang="pl-PL" dirty="0"/>
              <a:t>Wszystkie działania, prezentacje i protokoły z obrad są umieszczane na stronie internetowej </a:t>
            </a:r>
            <a:r>
              <a:rPr lang="pl-PL" dirty="0">
                <a:hlinkClick r:id="rId5"/>
              </a:rPr>
              <a:t>www.nordkalk.pl</a:t>
            </a:r>
            <a:r>
              <a:rPr lang="pl-PL" dirty="0"/>
              <a:t> .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992130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iekt 5" hidden="1">
            <a:extLst>
              <a:ext uri="{FF2B5EF4-FFF2-40B4-BE49-F238E27FC236}">
                <a16:creationId xmlns:a16="http://schemas.microsoft.com/office/drawing/2014/main" id="{29046812-5755-47DE-8142-A19A182D33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iekt 5" hidden="1">
                        <a:extLst>
                          <a:ext uri="{FF2B5EF4-FFF2-40B4-BE49-F238E27FC236}">
                            <a16:creationId xmlns:a16="http://schemas.microsoft.com/office/drawing/2014/main" id="{29046812-5755-47DE-8142-A19A182D33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48312C0-8B35-4F4F-A618-6D7AA8665F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pl-PL" dirty="0"/>
              <a:t>Zasady współpracy – analiza przykładowych projektów</a:t>
            </a:r>
          </a:p>
        </p:txBody>
      </p:sp>
      <p:graphicFrame>
        <p:nvGraphicFramePr>
          <p:cNvPr id="7" name="Symbol zastępczy tabeli 3">
            <a:extLst>
              <a:ext uri="{FF2B5EF4-FFF2-40B4-BE49-F238E27FC236}">
                <a16:creationId xmlns:a16="http://schemas.microsoft.com/office/drawing/2014/main" id="{943D9513-6CE3-4920-B223-A3E27D8473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36112918"/>
              </p:ext>
            </p:extLst>
          </p:nvPr>
        </p:nvGraphicFramePr>
        <p:xfrm>
          <a:off x="636997" y="2142961"/>
          <a:ext cx="8865476" cy="46634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12351">
                  <a:extLst>
                    <a:ext uri="{9D8B030D-6E8A-4147-A177-3AD203B41FA5}">
                      <a16:colId xmlns:a16="http://schemas.microsoft.com/office/drawing/2014/main" val="3131896162"/>
                    </a:ext>
                  </a:extLst>
                </a:gridCol>
                <a:gridCol w="1008186">
                  <a:extLst>
                    <a:ext uri="{9D8B030D-6E8A-4147-A177-3AD203B41FA5}">
                      <a16:colId xmlns:a16="http://schemas.microsoft.com/office/drawing/2014/main" val="113175189"/>
                    </a:ext>
                  </a:extLst>
                </a:gridCol>
                <a:gridCol w="863053">
                  <a:extLst>
                    <a:ext uri="{9D8B030D-6E8A-4147-A177-3AD203B41FA5}">
                      <a16:colId xmlns:a16="http://schemas.microsoft.com/office/drawing/2014/main" val="3112067070"/>
                    </a:ext>
                  </a:extLst>
                </a:gridCol>
                <a:gridCol w="1702569">
                  <a:extLst>
                    <a:ext uri="{9D8B030D-6E8A-4147-A177-3AD203B41FA5}">
                      <a16:colId xmlns:a16="http://schemas.microsoft.com/office/drawing/2014/main" val="1573094939"/>
                    </a:ext>
                  </a:extLst>
                </a:gridCol>
                <a:gridCol w="910128">
                  <a:extLst>
                    <a:ext uri="{9D8B030D-6E8A-4147-A177-3AD203B41FA5}">
                      <a16:colId xmlns:a16="http://schemas.microsoft.com/office/drawing/2014/main" val="2725456511"/>
                    </a:ext>
                  </a:extLst>
                </a:gridCol>
                <a:gridCol w="952819">
                  <a:extLst>
                    <a:ext uri="{9D8B030D-6E8A-4147-A177-3AD203B41FA5}">
                      <a16:colId xmlns:a16="http://schemas.microsoft.com/office/drawing/2014/main" val="2510322894"/>
                    </a:ext>
                  </a:extLst>
                </a:gridCol>
                <a:gridCol w="1108185">
                  <a:extLst>
                    <a:ext uri="{9D8B030D-6E8A-4147-A177-3AD203B41FA5}">
                      <a16:colId xmlns:a16="http://schemas.microsoft.com/office/drawing/2014/main" val="2337907631"/>
                    </a:ext>
                  </a:extLst>
                </a:gridCol>
                <a:gridCol w="1108185">
                  <a:extLst>
                    <a:ext uri="{9D8B030D-6E8A-4147-A177-3AD203B41FA5}">
                      <a16:colId xmlns:a16="http://schemas.microsoft.com/office/drawing/2014/main" val="1239373849"/>
                    </a:ext>
                  </a:extLst>
                </a:gridCol>
              </a:tblGrid>
              <a:tr h="583444">
                <a:tc>
                  <a:txBody>
                    <a:bodyPr/>
                    <a:lstStyle/>
                    <a:p>
                      <a:r>
                        <a:rPr lang="pl-PL" sz="1100" dirty="0">
                          <a:solidFill>
                            <a:schemeClr val="bg1"/>
                          </a:solidFill>
                        </a:rPr>
                        <a:t>Opis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solidFill>
                            <a:schemeClr val="bg1"/>
                          </a:solidFill>
                        </a:rPr>
                        <a:t>Czy nastawiona na zysk?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solidFill>
                            <a:schemeClr val="bg1"/>
                          </a:solidFill>
                        </a:rPr>
                        <a:t>Czy długofalowa?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lvl="1" indent="0"/>
                      <a:r>
                        <a:rPr lang="pl-PL" sz="1100" dirty="0">
                          <a:solidFill>
                            <a:schemeClr val="bg1"/>
                          </a:solidFill>
                        </a:rPr>
                        <a:t>Czy obejmuje jeden z obszarów?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solidFill>
                            <a:schemeClr val="bg1"/>
                          </a:solidFill>
                        </a:rPr>
                        <a:t>Czy daje możliwość wykorzystania surowca?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solidFill>
                            <a:schemeClr val="bg1"/>
                          </a:solidFill>
                        </a:rPr>
                        <a:t>Z kim może zostać zrealizowana? 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solidFill>
                            <a:schemeClr val="bg1"/>
                          </a:solidFill>
                        </a:rPr>
                        <a:t>Szacowany  budżet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pl-PL" sz="1100" dirty="0">
                          <a:solidFill>
                            <a:schemeClr val="bg1"/>
                          </a:solidFill>
                        </a:rPr>
                        <a:t>Czy spełnia kryteria?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7078416"/>
                  </a:ext>
                </a:extLst>
              </a:tr>
              <a:tr h="373021">
                <a:tc>
                  <a:txBody>
                    <a:bodyPr/>
                    <a:lstStyle/>
                    <a:p>
                      <a:r>
                        <a:rPr lang="pl-PL" sz="1100" dirty="0"/>
                        <a:t>Budowa placu zaba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Samorzą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 – Rada Dialogu Społeczneg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3173477"/>
                  </a:ext>
                </a:extLst>
              </a:tr>
              <a:tr h="373021">
                <a:tc>
                  <a:txBody>
                    <a:bodyPr/>
                    <a:lstStyle/>
                    <a:p>
                      <a:r>
                        <a:rPr lang="pl-PL" sz="1100" dirty="0"/>
                        <a:t>Budowa chodnik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Samorzą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 - Rada Dialogu Społeczneg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4704490"/>
                  </a:ext>
                </a:extLst>
              </a:tr>
              <a:tr h="373021">
                <a:tc>
                  <a:txBody>
                    <a:bodyPr/>
                    <a:lstStyle/>
                    <a:p>
                      <a:r>
                        <a:rPr lang="pl-PL" sz="1100" dirty="0"/>
                        <a:t>Przekazanie kruszywa na remont drog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 - Rada Dialogu Społeczneg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0226282"/>
                  </a:ext>
                </a:extLst>
              </a:tr>
              <a:tr h="373021">
                <a:tc>
                  <a:txBody>
                    <a:bodyPr/>
                    <a:lstStyle/>
                    <a:p>
                      <a:r>
                        <a:rPr lang="pl-PL" sz="1100" dirty="0"/>
                        <a:t>Naprawa/renowacja infrastruktu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Samorzą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 - Rada Dialogu Społeczneg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8421859"/>
                  </a:ext>
                </a:extLst>
              </a:tr>
              <a:tr h="373021">
                <a:tc>
                  <a:txBody>
                    <a:bodyPr/>
                    <a:lstStyle/>
                    <a:p>
                      <a:r>
                        <a:rPr lang="pl-PL" sz="1100" dirty="0"/>
                        <a:t>Dofinansowanie wyjazdu na kolonie dla dziec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Szkoł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 - </a:t>
                      </a:r>
                      <a:r>
                        <a:rPr lang="pl-PL" sz="1100" dirty="0" err="1"/>
                        <a:t>Nordkalk</a:t>
                      </a:r>
                      <a:endParaRPr lang="pl-PL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9733905"/>
                  </a:ext>
                </a:extLst>
              </a:tr>
              <a:tr h="267810">
                <a:tc>
                  <a:txBody>
                    <a:bodyPr/>
                    <a:lstStyle/>
                    <a:p>
                      <a:r>
                        <a:rPr lang="pl-PL" sz="1100" dirty="0"/>
                        <a:t>Dofinansowanie </a:t>
                      </a:r>
                      <a:r>
                        <a:rPr lang="pl-PL" sz="1100" dirty="0" err="1"/>
                        <a:t>fotowoltaiki</a:t>
                      </a:r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ta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Inne źródła finansowani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pl-PL" sz="1100" dirty="0"/>
                        <a:t>NI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622581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38042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Nordkalk">
      <a:dk1>
        <a:srgbClr val="000000"/>
      </a:dk1>
      <a:lt1>
        <a:srgbClr val="FFFFFF"/>
      </a:lt1>
      <a:dk2>
        <a:srgbClr val="2C9359"/>
      </a:dk2>
      <a:lt2>
        <a:srgbClr val="FFFFFF"/>
      </a:lt2>
      <a:accent1>
        <a:srgbClr val="2C9359"/>
      </a:accent1>
      <a:accent2>
        <a:srgbClr val="93C356"/>
      </a:accent2>
      <a:accent3>
        <a:srgbClr val="FDC651"/>
      </a:accent3>
      <a:accent4>
        <a:srgbClr val="005B79"/>
      </a:accent4>
      <a:accent5>
        <a:srgbClr val="068EC2"/>
      </a:accent5>
      <a:accent6>
        <a:srgbClr val="5DC5EA"/>
      </a:accent6>
      <a:hlink>
        <a:srgbClr val="005B79"/>
      </a:hlink>
      <a:folHlink>
        <a:srgbClr val="068EC2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Element zawartości obrazu" ma:contentTypeID="0x0101009148F5A04DDD49CBA7127AADA5FB792B00AADE34325A8B49CDA8BB4DB53328F21400B712A1B953605E47BBC1111577EF77FE" ma:contentTypeVersion="5" ma:contentTypeDescription="Przekazywanie obrazu." ma:contentTypeScope="" ma:versionID="93d47f4d36537bd5b77972840f8c6d15">
  <xsd:schema xmlns:xsd="http://www.w3.org/2001/XMLSchema" xmlns:xs="http://www.w3.org/2001/XMLSchema" xmlns:p="http://schemas.microsoft.com/office/2006/metadata/properties" xmlns:ns1="http://schemas.microsoft.com/sharepoint/v3" xmlns:ns2="E74F82AF-F98F-4C66-ABC2-593C481F84C3" xmlns:ns3="http://schemas.microsoft.com/sharepoint/v3/fields" xmlns:ns4="e74f82af-f98f-4c66-abc2-593c481f84c3" targetNamespace="http://schemas.microsoft.com/office/2006/metadata/properties" ma:root="true" ma:fieldsID="696925a929bcc09b170132518bf1eeb8" ns1:_="" ns2:_="" ns3:_="" ns4:_="">
    <xsd:import namespace="http://schemas.microsoft.com/sharepoint/v3"/>
    <xsd:import namespace="E74F82AF-F98F-4C66-ABC2-593C481F84C3"/>
    <xsd:import namespace="http://schemas.microsoft.com/sharepoint/v3/fields"/>
    <xsd:import namespace="e74f82af-f98f-4c66-abc2-593c481f84c3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1:PublishingStartDate" minOccurs="0"/>
                <xsd:element ref="ns1:PublishingExpirationDate" minOccurs="0"/>
                <xsd:element ref="ns4:MediaServiceMetadata" minOccurs="0"/>
                <xsd:element ref="ns4:MediaServiceFastMetadata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Ścieżka adresu URL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Typ plików" ma:hidden="true" ma:internalName="File_x0020_Type" ma:readOnly="true">
      <xsd:simpleType>
        <xsd:restriction base="dms:Text"/>
      </xsd:simpleType>
    </xsd:element>
    <xsd:element name="HTML_x0020_File_x0020_Type" ma:index="10" nillable="true" ma:displayName="Typ pliku HTML" ma:hidden="true" ma:internalName="HTML_x0020_File_x0020_Type" ma:readOnly="true">
      <xsd:simpleType>
        <xsd:restriction base="dms:Text"/>
      </xsd:simpleType>
    </xsd:element>
    <xsd:element name="FSObjType" ma:index="11" nillable="true" ma:displayName="Typ elementu" ma:hidden="true" ma:list="Docs" ma:internalName="FSObjType" ma:readOnly="true" ma:showField="FSType">
      <xsd:simpleType>
        <xsd:restriction base="dms:Lookup"/>
      </xsd:simpleType>
    </xsd:element>
    <xsd:element name="PublishingStartDate" ma:index="27" nillable="true" ma:displayName="Planowana data rozpoczęcia" ma:description="" ma:hidden="true" ma:internalName="PublishingStartDate">
      <xsd:simpleType>
        <xsd:restriction base="dms:Unknown"/>
      </xsd:simpleType>
    </xsd:element>
    <xsd:element name="PublishingExpirationDate" ma:index="28" nillable="true" ma:displayName="Planowana data zakończenia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4F82AF-F98F-4C66-ABC2-593C481F84C3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Istnieje miniatura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Istnieje podgląd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Szerokość" ma:internalName="ImageWidth" ma:readOnly="true">
      <xsd:simpleType>
        <xsd:restriction base="dms:Unknown"/>
      </xsd:simpleType>
    </xsd:element>
    <xsd:element name="ImageHeight" ma:index="22" nillable="true" ma:displayName="Wysokość" ma:internalName="ImageHeight" ma:readOnly="true">
      <xsd:simpleType>
        <xsd:restriction base="dms:Unknown"/>
      </xsd:simpleType>
    </xsd:element>
    <xsd:element name="ImageCreateDate" ma:index="25" nillable="true" ma:displayName="Data zrobienia zdjęcia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Prawa autorskie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4f82af-f98f-4c66-abc2-593c481f84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3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3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or"/>
        <xsd:element ref="dcterms:created" minOccurs="0" maxOccurs="1"/>
        <xsd:element ref="dc:identifier" minOccurs="0" maxOccurs="1"/>
        <xsd:element name="contentType" minOccurs="0" maxOccurs="1" type="xsd:string" ma:index="0" ma:displayName="Typ zawartości"/>
        <xsd:element ref="dc:title" minOccurs="0" maxOccurs="1" ma:index="4" ma:displayName="Tytuł"/>
        <xsd:element ref="dc:subject" minOccurs="0" maxOccurs="1"/>
        <xsd:element ref="dc:description" minOccurs="0" maxOccurs="1" ma:index="23" ma:displayName="Komentarze"/>
        <xsd:element name="keywords" minOccurs="0" maxOccurs="1" type="xsd:string" ma:index="14" ma:displayName="Słowa kluczowe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mageCreateDate xmlns="E74F82AF-F98F-4C66-ABC2-593C481F84C3" xsi:nil="true"/>
    <PublishingExpirationDate xmlns="http://schemas.microsoft.com/sharepoint/v3" xsi:nil="true"/>
    <PublishingStartDate xmlns="http://schemas.microsoft.com/sharepoint/v3" xsi:nil="true"/>
    <wic_System_Copyright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51B5FB9A-3A4F-4B4E-94F1-6519A0FC692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82477EC-949A-430D-9E2F-7834BF28B31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74F82AF-F98F-4C66-ABC2-593C481F84C3"/>
    <ds:schemaRef ds:uri="http://schemas.microsoft.com/sharepoint/v3/fields"/>
    <ds:schemaRef ds:uri="e74f82af-f98f-4c66-abc2-593c481f84c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37D151C-D93E-4D25-888A-47F6DF9A0DD2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86e840e3-a74e-4b17-9188-4056a4429848"/>
    <ds:schemaRef ds:uri="http://schemas.microsoft.com/office/infopath/2007/PartnerControls"/>
    <ds:schemaRef ds:uri="0cc7f4bc-73dc-446a-9d32-6753cc135113"/>
    <ds:schemaRef ds:uri="http://www.w3.org/XML/1998/namespace"/>
    <ds:schemaRef ds:uri="http://purl.org/dc/dcmitype/"/>
    <ds:schemaRef ds:uri="E74F82AF-F98F-4C66-ABC2-593C481F84C3"/>
    <ds:schemaRef ds:uri="http://schemas.microsoft.com/sharepoint/v3"/>
    <ds:schemaRef ds:uri="http://schemas.microsoft.com/sharepoint/v3/field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05</TotalTime>
  <Words>1003</Words>
  <Application>Microsoft Office PowerPoint</Application>
  <PresentationFormat>Panoramiczny</PresentationFormat>
  <Paragraphs>150</Paragraphs>
  <Slides>32</Slides>
  <Notes>2</Notes>
  <HiddenSlides>0</HiddenSlides>
  <MMClips>0</MMClips>
  <ScaleCrop>false</ScaleCrop>
  <HeadingPairs>
    <vt:vector size="8" baseType="variant">
      <vt:variant>
        <vt:lpstr>Używane czcionki</vt:lpstr>
      </vt:variant>
      <vt:variant>
        <vt:i4>4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32</vt:i4>
      </vt:variant>
    </vt:vector>
  </HeadingPairs>
  <TitlesOfParts>
    <vt:vector size="38" baseType="lpstr">
      <vt:lpstr>Arial</vt:lpstr>
      <vt:lpstr>Calibri</vt:lpstr>
      <vt:lpstr>Symbol</vt:lpstr>
      <vt:lpstr>Trebuchet MS</vt:lpstr>
      <vt:lpstr>Office Theme</vt:lpstr>
      <vt:lpstr>think-cell Slide</vt:lpstr>
      <vt:lpstr>Rada Dialogu Społecznego</vt:lpstr>
      <vt:lpstr>Spotkanie Rady Dialogu Społecznego 26.11.2021 r.</vt:lpstr>
      <vt:lpstr>Agenda</vt:lpstr>
      <vt:lpstr>Zasady prowadzenia dialogu społecznego</vt:lpstr>
      <vt:lpstr>Prezentacja programu PowerPoint</vt:lpstr>
      <vt:lpstr>Zasady współpracy</vt:lpstr>
      <vt:lpstr>Zasady współpracy</vt:lpstr>
      <vt:lpstr>Zasady współpracy</vt:lpstr>
      <vt:lpstr>Zasady współpracy – analiza przykładowych projektów</vt:lpstr>
      <vt:lpstr>Projekty zrealizowane w ramach DS w 2021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ojekty, które wpłynęły do RDS w 2021: Podpolichno</vt:lpstr>
      <vt:lpstr>Projekty, które wpłynęły do RDS w 2021: Gałęzice</vt:lpstr>
      <vt:lpstr>Projekty, które wpłynęły do RDS w 2021: Rykoszyn</vt:lpstr>
      <vt:lpstr>Projekty, które wpłynęły do RDS w 2021: Zajączków</vt:lpstr>
      <vt:lpstr>Projekty, które wpłynęły do RDS w 2021: Bławatków</vt:lpstr>
      <vt:lpstr>Projekty, które wpłynęły do RDS w 2021: Skałka</vt:lpstr>
      <vt:lpstr>Dyskusja i głosowanie nad projektami </vt:lpstr>
      <vt:lpstr>Kolejne spotkanie RDS wiosna 2022?</vt:lpstr>
      <vt:lpstr>Dziękujem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here Date here</dc:title>
  <dc:creator>Mäkelä Hanne</dc:creator>
  <cp:keywords/>
  <dc:description/>
  <cp:lastModifiedBy>Budny Dominik</cp:lastModifiedBy>
  <cp:revision>17</cp:revision>
  <dcterms:created xsi:type="dcterms:W3CDTF">2021-02-16T06:01:02Z</dcterms:created>
  <dcterms:modified xsi:type="dcterms:W3CDTF">2021-12-14T12:55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B712A1B953605E47BBC1111577EF77FE</vt:lpwstr>
  </property>
</Properties>
</file>